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75" r:id="rId4"/>
  </p:sldMasterIdLst>
  <p:notesMasterIdLst>
    <p:notesMasterId r:id="rId17"/>
  </p:notesMasterIdLst>
  <p:sldIdLst>
    <p:sldId id="256" r:id="rId5"/>
    <p:sldId id="2141411861" r:id="rId6"/>
    <p:sldId id="313" r:id="rId7"/>
    <p:sldId id="2141411891" r:id="rId8"/>
    <p:sldId id="2141411887" r:id="rId9"/>
    <p:sldId id="2141411888" r:id="rId10"/>
    <p:sldId id="2141411889" r:id="rId11"/>
    <p:sldId id="2141411890" r:id="rId12"/>
    <p:sldId id="2141411894" r:id="rId13"/>
    <p:sldId id="2141411893" r:id="rId14"/>
    <p:sldId id="2141411895" r:id="rId15"/>
    <p:sldId id="741" r:id="rId16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2402FE89-61E3-3448-B080-4C535E82D813}">
          <p14:sldIdLst>
            <p14:sldId id="256"/>
            <p14:sldId id="2141411861"/>
            <p14:sldId id="313"/>
            <p14:sldId id="2141411891"/>
            <p14:sldId id="2141411887"/>
            <p14:sldId id="2141411888"/>
            <p14:sldId id="2141411889"/>
            <p14:sldId id="2141411890"/>
            <p14:sldId id="2141411894"/>
            <p14:sldId id="2141411893"/>
            <p14:sldId id="2141411895"/>
            <p14:sldId id="74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vvas Stergiou" initials="SS" lastIdx="1" clrIdx="0">
    <p:extLst>
      <p:ext uri="{19B8F6BF-5375-455C-9EA6-DF929625EA0E}">
        <p15:presenceInfo xmlns:p15="http://schemas.microsoft.com/office/powerpoint/2012/main" userId="S::savvas.stergiou@zs.com::9d583a6d-1d1a-4187-87cf-cefb35d7df46" providerId="AD"/>
      </p:ext>
    </p:extLst>
  </p:cmAuthor>
  <p:cmAuthor id="2" name="Lukas Grabner" initials="LG" lastIdx="2" clrIdx="1">
    <p:extLst>
      <p:ext uri="{19B8F6BF-5375-455C-9EA6-DF929625EA0E}">
        <p15:presenceInfo xmlns:p15="http://schemas.microsoft.com/office/powerpoint/2012/main" userId="S::lukas.grabner@zs.com::0841a39c-cc45-4a81-a1fd-924bb22412c3" providerId="AD"/>
      </p:ext>
    </p:extLst>
  </p:cmAuthor>
  <p:cmAuthor id="3" name="Gasteiger, Cassidy M" initials="GCM" lastIdx="1" clrIdx="2">
    <p:extLst>
      <p:ext uri="{19B8F6BF-5375-455C-9EA6-DF929625EA0E}">
        <p15:presenceInfo xmlns:p15="http://schemas.microsoft.com/office/powerpoint/2012/main" userId="S::cgasteiger3@gatech.edu::49e4247d-81de-4625-ae16-f189e0b7e52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05933"/>
    <a:srgbClr val="BFBFBF"/>
    <a:srgbClr val="FC9C2E"/>
    <a:srgbClr val="1A75BC"/>
    <a:srgbClr val="143F90"/>
    <a:srgbClr val="FFFFFF"/>
    <a:srgbClr val="F2B8A8"/>
    <a:srgbClr val="E77C5F"/>
    <a:srgbClr val="034C9D"/>
    <a:srgbClr val="4D95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A7B295-9721-4859-B4C7-15ADCB262973}" v="1728" dt="2023-04-17T16:08:45.476"/>
  </p1510:revLst>
</p1510:revInfo>
</file>

<file path=ppt/tableStyles.xml><?xml version="1.0" encoding="utf-8"?>
<a:tblStyleLst xmlns:a="http://schemas.openxmlformats.org/drawingml/2006/main" def="{E0423346-26A4-4AE9-B3C1-C0C3206B1CC0}">
  <a:tblStyle styleId="{E0423346-26A4-4AE9-B3C1-C0C3206B1CC0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41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nninti, Sai Sri Harsha" userId="S::spinninti6@gatech.edu::6ba08ae6-e7e9-4708-9553-1d23cd36dd19" providerId="AD" clId="Web-{D9CDF51D-4F52-43FB-9837-59CA538BD93C}"/>
    <pc:docChg chg="modSld sldOrd">
      <pc:chgData name="Pinninti, Sai Sri Harsha" userId="S::spinninti6@gatech.edu::6ba08ae6-e7e9-4708-9553-1d23cd36dd19" providerId="AD" clId="Web-{D9CDF51D-4F52-43FB-9837-59CA538BD93C}" dt="2023-03-31T03:31:03.998" v="236" actId="1076"/>
      <pc:docMkLst>
        <pc:docMk/>
      </pc:docMkLst>
      <pc:sldChg chg="modSp">
        <pc:chgData name="Pinninti, Sai Sri Harsha" userId="S::spinninti6@gatech.edu::6ba08ae6-e7e9-4708-9553-1d23cd36dd19" providerId="AD" clId="Web-{D9CDF51D-4F52-43FB-9837-59CA538BD93C}" dt="2023-03-31T03:07:35.531" v="204" actId="20577"/>
        <pc:sldMkLst>
          <pc:docMk/>
          <pc:sldMk cId="208133519" sldId="324"/>
        </pc:sldMkLst>
        <pc:spChg chg="mod">
          <ac:chgData name="Pinninti, Sai Sri Harsha" userId="S::spinninti6@gatech.edu::6ba08ae6-e7e9-4708-9553-1d23cd36dd19" providerId="AD" clId="Web-{D9CDF51D-4F52-43FB-9837-59CA538BD93C}" dt="2023-03-31T03:07:35.531" v="204" actId="20577"/>
          <ac:spMkLst>
            <pc:docMk/>
            <pc:sldMk cId="208133519" sldId="324"/>
            <ac:spMk id="235" creationId="{00000000-0000-0000-0000-000000000000}"/>
          </ac:spMkLst>
        </pc:spChg>
      </pc:sldChg>
      <pc:sldChg chg="ord">
        <pc:chgData name="Pinninti, Sai Sri Harsha" userId="S::spinninti6@gatech.edu::6ba08ae6-e7e9-4708-9553-1d23cd36dd19" providerId="AD" clId="Web-{D9CDF51D-4F52-43FB-9837-59CA538BD93C}" dt="2023-03-31T03:08:48.440" v="212"/>
        <pc:sldMkLst>
          <pc:docMk/>
          <pc:sldMk cId="638772994" sldId="337"/>
        </pc:sldMkLst>
      </pc:sldChg>
      <pc:sldChg chg="modSp">
        <pc:chgData name="Pinninti, Sai Sri Harsha" userId="S::spinninti6@gatech.edu::6ba08ae6-e7e9-4708-9553-1d23cd36dd19" providerId="AD" clId="Web-{D9CDF51D-4F52-43FB-9837-59CA538BD93C}" dt="2023-03-31T03:14:42.373" v="216" actId="20577"/>
        <pc:sldMkLst>
          <pc:docMk/>
          <pc:sldMk cId="1618349175" sldId="350"/>
        </pc:sldMkLst>
        <pc:spChg chg="mod">
          <ac:chgData name="Pinninti, Sai Sri Harsha" userId="S::spinninti6@gatech.edu::6ba08ae6-e7e9-4708-9553-1d23cd36dd19" providerId="AD" clId="Web-{D9CDF51D-4F52-43FB-9837-59CA538BD93C}" dt="2023-03-31T03:14:42.373" v="216" actId="20577"/>
          <ac:spMkLst>
            <pc:docMk/>
            <pc:sldMk cId="1618349175" sldId="350"/>
            <ac:spMk id="13" creationId="{D6284CA1-1AC1-AF99-D8E1-6FAF4570E057}"/>
          </ac:spMkLst>
        </pc:spChg>
      </pc:sldChg>
      <pc:sldChg chg="ord">
        <pc:chgData name="Pinninti, Sai Sri Harsha" userId="S::spinninti6@gatech.edu::6ba08ae6-e7e9-4708-9553-1d23cd36dd19" providerId="AD" clId="Web-{D9CDF51D-4F52-43FB-9837-59CA538BD93C}" dt="2023-03-31T03:08:48.440" v="205"/>
        <pc:sldMkLst>
          <pc:docMk/>
          <pc:sldMk cId="412744018" sldId="353"/>
        </pc:sldMkLst>
      </pc:sldChg>
      <pc:sldChg chg="modSp">
        <pc:chgData name="Pinninti, Sai Sri Harsha" userId="S::spinninti6@gatech.edu::6ba08ae6-e7e9-4708-9553-1d23cd36dd19" providerId="AD" clId="Web-{D9CDF51D-4F52-43FB-9837-59CA538BD93C}" dt="2023-03-31T02:58:33.233" v="200" actId="20577"/>
        <pc:sldMkLst>
          <pc:docMk/>
          <pc:sldMk cId="1273494731" sldId="355"/>
        </pc:sldMkLst>
        <pc:spChg chg="mod">
          <ac:chgData name="Pinninti, Sai Sri Harsha" userId="S::spinninti6@gatech.edu::6ba08ae6-e7e9-4708-9553-1d23cd36dd19" providerId="AD" clId="Web-{D9CDF51D-4F52-43FB-9837-59CA538BD93C}" dt="2023-03-31T02:58:33.233" v="200" actId="20577"/>
          <ac:spMkLst>
            <pc:docMk/>
            <pc:sldMk cId="1273494731" sldId="355"/>
            <ac:spMk id="7" creationId="{54B0EB23-5D84-255B-1028-9B5EAAE24DA4}"/>
          </ac:spMkLst>
        </pc:spChg>
        <pc:spChg chg="mod">
          <ac:chgData name="Pinninti, Sai Sri Harsha" userId="S::spinninti6@gatech.edu::6ba08ae6-e7e9-4708-9553-1d23cd36dd19" providerId="AD" clId="Web-{D9CDF51D-4F52-43FB-9837-59CA538BD93C}" dt="2023-03-31T02:57:24.840" v="126" actId="20577"/>
          <ac:spMkLst>
            <pc:docMk/>
            <pc:sldMk cId="1273494731" sldId="355"/>
            <ac:spMk id="9" creationId="{0AF981F2-A335-FB1A-BCAA-7A9D7ECE3E5A}"/>
          </ac:spMkLst>
        </pc:spChg>
      </pc:sldChg>
      <pc:sldChg chg="modSp">
        <pc:chgData name="Pinninti, Sai Sri Harsha" userId="S::spinninti6@gatech.edu::6ba08ae6-e7e9-4708-9553-1d23cd36dd19" providerId="AD" clId="Web-{D9CDF51D-4F52-43FB-9837-59CA538BD93C}" dt="2023-03-31T03:21:22.746" v="223" actId="20577"/>
        <pc:sldMkLst>
          <pc:docMk/>
          <pc:sldMk cId="3056861955" sldId="359"/>
        </pc:sldMkLst>
        <pc:spChg chg="mod">
          <ac:chgData name="Pinninti, Sai Sri Harsha" userId="S::spinninti6@gatech.edu::6ba08ae6-e7e9-4708-9553-1d23cd36dd19" providerId="AD" clId="Web-{D9CDF51D-4F52-43FB-9837-59CA538BD93C}" dt="2023-03-31T03:21:22.746" v="223" actId="20577"/>
          <ac:spMkLst>
            <pc:docMk/>
            <pc:sldMk cId="3056861955" sldId="359"/>
            <ac:spMk id="3" creationId="{95AF8C3A-11C3-3B9E-0805-D28C0AE368A5}"/>
          </ac:spMkLst>
        </pc:spChg>
      </pc:sldChg>
      <pc:sldChg chg="modSp ord">
        <pc:chgData name="Pinninti, Sai Sri Harsha" userId="S::spinninti6@gatech.edu::6ba08ae6-e7e9-4708-9553-1d23cd36dd19" providerId="AD" clId="Web-{D9CDF51D-4F52-43FB-9837-59CA538BD93C}" dt="2023-03-31T03:31:03.998" v="236" actId="1076"/>
        <pc:sldMkLst>
          <pc:docMk/>
          <pc:sldMk cId="1169807257" sldId="752"/>
        </pc:sldMkLst>
        <pc:spChg chg="mod">
          <ac:chgData name="Pinninti, Sai Sri Harsha" userId="S::spinninti6@gatech.edu::6ba08ae6-e7e9-4708-9553-1d23cd36dd19" providerId="AD" clId="Web-{D9CDF51D-4F52-43FB-9837-59CA538BD93C}" dt="2023-03-31T03:31:03.998" v="236" actId="1076"/>
          <ac:spMkLst>
            <pc:docMk/>
            <pc:sldMk cId="1169807257" sldId="752"/>
            <ac:spMk id="5" creationId="{EBFB3DC5-377C-0EED-C6B8-200F4CD58E09}"/>
          </ac:spMkLst>
        </pc:spChg>
      </pc:sldChg>
      <pc:sldChg chg="ord">
        <pc:chgData name="Pinninti, Sai Sri Harsha" userId="S::spinninti6@gatech.edu::6ba08ae6-e7e9-4708-9553-1d23cd36dd19" providerId="AD" clId="Web-{D9CDF51D-4F52-43FB-9837-59CA538BD93C}" dt="2023-03-31T03:08:48.440" v="206"/>
        <pc:sldMkLst>
          <pc:docMk/>
          <pc:sldMk cId="180412202" sldId="2141411854"/>
        </pc:sldMkLst>
      </pc:sldChg>
      <pc:sldChg chg="modSp">
        <pc:chgData name="Pinninti, Sai Sri Harsha" userId="S::spinninti6@gatech.edu::6ba08ae6-e7e9-4708-9553-1d23cd36dd19" providerId="AD" clId="Web-{D9CDF51D-4F52-43FB-9837-59CA538BD93C}" dt="2023-03-31T03:20:47.432" v="221" actId="20577"/>
        <pc:sldMkLst>
          <pc:docMk/>
          <pc:sldMk cId="613632464" sldId="2141411859"/>
        </pc:sldMkLst>
        <pc:spChg chg="mod">
          <ac:chgData name="Pinninti, Sai Sri Harsha" userId="S::spinninti6@gatech.edu::6ba08ae6-e7e9-4708-9553-1d23cd36dd19" providerId="AD" clId="Web-{D9CDF51D-4F52-43FB-9837-59CA538BD93C}" dt="2023-03-31T03:20:47.432" v="221" actId="20577"/>
          <ac:spMkLst>
            <pc:docMk/>
            <pc:sldMk cId="613632464" sldId="2141411859"/>
            <ac:spMk id="8" creationId="{94B10EA8-7CEF-C026-AE6D-0C98CA26526E}"/>
          </ac:spMkLst>
        </pc:spChg>
      </pc:sldChg>
      <pc:sldChg chg="ord">
        <pc:chgData name="Pinninti, Sai Sri Harsha" userId="S::spinninti6@gatech.edu::6ba08ae6-e7e9-4708-9553-1d23cd36dd19" providerId="AD" clId="Web-{D9CDF51D-4F52-43FB-9837-59CA538BD93C}" dt="2023-03-31T03:08:48.440" v="213"/>
        <pc:sldMkLst>
          <pc:docMk/>
          <pc:sldMk cId="3207582910" sldId="2141411863"/>
        </pc:sldMkLst>
      </pc:sldChg>
      <pc:sldChg chg="modSp ord">
        <pc:chgData name="Pinninti, Sai Sri Harsha" userId="S::spinninti6@gatech.edu::6ba08ae6-e7e9-4708-9553-1d23cd36dd19" providerId="AD" clId="Web-{D9CDF51D-4F52-43FB-9837-59CA538BD93C}" dt="2023-03-31T03:26:40.943" v="229" actId="20577"/>
        <pc:sldMkLst>
          <pc:docMk/>
          <pc:sldMk cId="2274967187" sldId="2141411868"/>
        </pc:sldMkLst>
        <pc:spChg chg="mod">
          <ac:chgData name="Pinninti, Sai Sri Harsha" userId="S::spinninti6@gatech.edu::6ba08ae6-e7e9-4708-9553-1d23cd36dd19" providerId="AD" clId="Web-{D9CDF51D-4F52-43FB-9837-59CA538BD93C}" dt="2023-03-31T03:26:40.943" v="229" actId="20577"/>
          <ac:spMkLst>
            <pc:docMk/>
            <pc:sldMk cId="2274967187" sldId="2141411868"/>
            <ac:spMk id="56" creationId="{A15B5072-D6B3-A952-08A8-21A753912890}"/>
          </ac:spMkLst>
        </pc:spChg>
      </pc:sldChg>
      <pc:sldChg chg="modSp ord">
        <pc:chgData name="Pinninti, Sai Sri Harsha" userId="S::spinninti6@gatech.edu::6ba08ae6-e7e9-4708-9553-1d23cd36dd19" providerId="AD" clId="Web-{D9CDF51D-4F52-43FB-9837-59CA538BD93C}" dt="2023-03-31T03:28:05.164" v="234" actId="20577"/>
        <pc:sldMkLst>
          <pc:docMk/>
          <pc:sldMk cId="3875709419" sldId="2141411870"/>
        </pc:sldMkLst>
        <pc:spChg chg="mod">
          <ac:chgData name="Pinninti, Sai Sri Harsha" userId="S::spinninti6@gatech.edu::6ba08ae6-e7e9-4708-9553-1d23cd36dd19" providerId="AD" clId="Web-{D9CDF51D-4F52-43FB-9837-59CA538BD93C}" dt="2023-03-31T03:28:05.164" v="234" actId="20577"/>
          <ac:spMkLst>
            <pc:docMk/>
            <pc:sldMk cId="3875709419" sldId="2141411870"/>
            <ac:spMk id="56" creationId="{A15B5072-D6B3-A952-08A8-21A753912890}"/>
          </ac:spMkLst>
        </pc:spChg>
      </pc:sldChg>
      <pc:sldChg chg="ord">
        <pc:chgData name="Pinninti, Sai Sri Harsha" userId="S::spinninti6@gatech.edu::6ba08ae6-e7e9-4708-9553-1d23cd36dd19" providerId="AD" clId="Web-{D9CDF51D-4F52-43FB-9837-59CA538BD93C}" dt="2023-03-31T03:08:48.440" v="207"/>
        <pc:sldMkLst>
          <pc:docMk/>
          <pc:sldMk cId="2768649226" sldId="2141411871"/>
        </pc:sldMkLst>
      </pc:sldChg>
      <pc:sldChg chg="ord">
        <pc:chgData name="Pinninti, Sai Sri Harsha" userId="S::spinninti6@gatech.edu::6ba08ae6-e7e9-4708-9553-1d23cd36dd19" providerId="AD" clId="Web-{D9CDF51D-4F52-43FB-9837-59CA538BD93C}" dt="2023-03-31T03:08:48.440" v="211"/>
        <pc:sldMkLst>
          <pc:docMk/>
          <pc:sldMk cId="75299640" sldId="2141411873"/>
        </pc:sldMkLst>
      </pc:sldChg>
    </pc:docChg>
  </pc:docChgLst>
  <pc:docChgLst>
    <pc:chgData name="Gasteiger, Cassidy M" userId="49e4247d-81de-4625-ae16-f189e0b7e529" providerId="ADAL" clId="{3FA7B295-9721-4859-B4C7-15ADCB262973}"/>
    <pc:docChg chg="undo custSel addSld delSld modSld sldOrd modSection modShowInfo">
      <pc:chgData name="Gasteiger, Cassidy M" userId="49e4247d-81de-4625-ae16-f189e0b7e529" providerId="ADAL" clId="{3FA7B295-9721-4859-B4C7-15ADCB262973}" dt="2023-04-19T23:15:15.079" v="4525" actId="20577"/>
      <pc:docMkLst>
        <pc:docMk/>
      </pc:docMkLst>
      <pc:sldChg chg="addSp delSp modSp mod">
        <pc:chgData name="Gasteiger, Cassidy M" userId="49e4247d-81de-4625-ae16-f189e0b7e529" providerId="ADAL" clId="{3FA7B295-9721-4859-B4C7-15ADCB262973}" dt="2023-04-16T22:09:59.265" v="154" actId="478"/>
        <pc:sldMkLst>
          <pc:docMk/>
          <pc:sldMk cId="0" sldId="256"/>
        </pc:sldMkLst>
        <pc:spChg chg="add del">
          <ac:chgData name="Gasteiger, Cassidy M" userId="49e4247d-81de-4625-ae16-f189e0b7e529" providerId="ADAL" clId="{3FA7B295-9721-4859-B4C7-15ADCB262973}" dt="2023-04-16T22:09:59.265" v="154" actId="478"/>
          <ac:spMkLst>
            <pc:docMk/>
            <pc:sldMk cId="0" sldId="256"/>
            <ac:spMk id="3" creationId="{8E8F52AD-66D4-CE2B-756E-7A6464CA2524}"/>
          </ac:spMkLst>
        </pc:spChg>
        <pc:spChg chg="mod">
          <ac:chgData name="Gasteiger, Cassidy M" userId="49e4247d-81de-4625-ae16-f189e0b7e529" providerId="ADAL" clId="{3FA7B295-9721-4859-B4C7-15ADCB262973}" dt="2023-04-16T22:09:55.854" v="153" actId="255"/>
          <ac:spMkLst>
            <pc:docMk/>
            <pc:sldMk cId="0" sldId="256"/>
            <ac:spMk id="185" creationId="{00000000-0000-0000-0000-000000000000}"/>
          </ac:spMkLst>
        </pc:spChg>
        <pc:spChg chg="mod">
          <ac:chgData name="Gasteiger, Cassidy M" userId="49e4247d-81de-4625-ae16-f189e0b7e529" providerId="ADAL" clId="{3FA7B295-9721-4859-B4C7-15ADCB262973}" dt="2023-04-16T22:08:44.404" v="13" actId="20577"/>
          <ac:spMkLst>
            <pc:docMk/>
            <pc:sldMk cId="0" sldId="256"/>
            <ac:spMk id="186" creationId="{00000000-0000-0000-0000-000000000000}"/>
          </ac:spMkLst>
        </pc:spChg>
      </pc:sldChg>
      <pc:sldChg chg="del">
        <pc:chgData name="Gasteiger, Cassidy M" userId="49e4247d-81de-4625-ae16-f189e0b7e529" providerId="ADAL" clId="{3FA7B295-9721-4859-B4C7-15ADCB262973}" dt="2023-04-17T03:43:04.990" v="1176" actId="2696"/>
        <pc:sldMkLst>
          <pc:docMk/>
          <pc:sldMk cId="1034074731" sldId="311"/>
        </pc:sldMkLst>
      </pc:sldChg>
      <pc:sldChg chg="ord">
        <pc:chgData name="Gasteiger, Cassidy M" userId="49e4247d-81de-4625-ae16-f189e0b7e529" providerId="ADAL" clId="{3FA7B295-9721-4859-B4C7-15ADCB262973}" dt="2023-04-17T03:03:00.449" v="1165"/>
        <pc:sldMkLst>
          <pc:docMk/>
          <pc:sldMk cId="3564174657" sldId="316"/>
        </pc:sldMkLst>
      </pc:sldChg>
      <pc:sldChg chg="ord">
        <pc:chgData name="Gasteiger, Cassidy M" userId="49e4247d-81de-4625-ae16-f189e0b7e529" providerId="ADAL" clId="{3FA7B295-9721-4859-B4C7-15ADCB262973}" dt="2023-04-17T03:03:02.291" v="1167"/>
        <pc:sldMkLst>
          <pc:docMk/>
          <pc:sldMk cId="1926625910" sldId="351"/>
        </pc:sldMkLst>
      </pc:sldChg>
      <pc:sldChg chg="ord">
        <pc:chgData name="Gasteiger, Cassidy M" userId="49e4247d-81de-4625-ae16-f189e0b7e529" providerId="ADAL" clId="{3FA7B295-9721-4859-B4C7-15ADCB262973}" dt="2023-04-17T02:52:51.189" v="1158"/>
        <pc:sldMkLst>
          <pc:docMk/>
          <pc:sldMk cId="1273494731" sldId="355"/>
        </pc:sldMkLst>
      </pc:sldChg>
      <pc:sldChg chg="delSp modSp mod">
        <pc:chgData name="Gasteiger, Cassidy M" userId="49e4247d-81de-4625-ae16-f189e0b7e529" providerId="ADAL" clId="{3FA7B295-9721-4859-B4C7-15ADCB262973}" dt="2023-04-17T06:34:30.256" v="3652" actId="1076"/>
        <pc:sldMkLst>
          <pc:docMk/>
          <pc:sldMk cId="4202540872" sldId="359"/>
        </pc:sldMkLst>
        <pc:spChg chg="mod">
          <ac:chgData name="Gasteiger, Cassidy M" userId="49e4247d-81de-4625-ae16-f189e0b7e529" providerId="ADAL" clId="{3FA7B295-9721-4859-B4C7-15ADCB262973}" dt="2023-04-17T06:34:30.256" v="3652" actId="1076"/>
          <ac:spMkLst>
            <pc:docMk/>
            <pc:sldMk cId="4202540872" sldId="359"/>
            <ac:spMk id="3" creationId="{95AF8C3A-11C3-3B9E-0805-D28C0AE368A5}"/>
          </ac:spMkLst>
        </pc:spChg>
        <pc:spChg chg="mod">
          <ac:chgData name="Gasteiger, Cassidy M" userId="49e4247d-81de-4625-ae16-f189e0b7e529" providerId="ADAL" clId="{3FA7B295-9721-4859-B4C7-15ADCB262973}" dt="2023-04-17T06:33:54.219" v="3647" actId="1076"/>
          <ac:spMkLst>
            <pc:docMk/>
            <pc:sldMk cId="4202540872" sldId="359"/>
            <ac:spMk id="4" creationId="{3BF3291A-43DE-7505-4009-62D862237EC9}"/>
          </ac:spMkLst>
        </pc:spChg>
        <pc:spChg chg="mod">
          <ac:chgData name="Gasteiger, Cassidy M" userId="49e4247d-81de-4625-ae16-f189e0b7e529" providerId="ADAL" clId="{3FA7B295-9721-4859-B4C7-15ADCB262973}" dt="2023-04-17T06:34:04.126" v="3649" actId="255"/>
          <ac:spMkLst>
            <pc:docMk/>
            <pc:sldMk cId="4202540872" sldId="359"/>
            <ac:spMk id="8" creationId="{6310A3AA-65E6-173D-8E86-37E4501B360B}"/>
          </ac:spMkLst>
        </pc:spChg>
        <pc:spChg chg="mod">
          <ac:chgData name="Gasteiger, Cassidy M" userId="49e4247d-81de-4625-ae16-f189e0b7e529" providerId="ADAL" clId="{3FA7B295-9721-4859-B4C7-15ADCB262973}" dt="2023-04-17T06:34:18.417" v="3651" actId="14100"/>
          <ac:spMkLst>
            <pc:docMk/>
            <pc:sldMk cId="4202540872" sldId="359"/>
            <ac:spMk id="9" creationId="{CBF85941-E9B0-D902-FC35-F729E60068F6}"/>
          </ac:spMkLst>
        </pc:spChg>
        <pc:spChg chg="del mod">
          <ac:chgData name="Gasteiger, Cassidy M" userId="49e4247d-81de-4625-ae16-f189e0b7e529" providerId="ADAL" clId="{3FA7B295-9721-4859-B4C7-15ADCB262973}" dt="2023-04-17T06:28:34.467" v="3491" actId="478"/>
          <ac:spMkLst>
            <pc:docMk/>
            <pc:sldMk cId="4202540872" sldId="359"/>
            <ac:spMk id="11" creationId="{17B21EF2-62B7-9F19-7C0C-0ABA533C8CC8}"/>
          </ac:spMkLst>
        </pc:spChg>
        <pc:spChg chg="del mod">
          <ac:chgData name="Gasteiger, Cassidy M" userId="49e4247d-81de-4625-ae16-f189e0b7e529" providerId="ADAL" clId="{3FA7B295-9721-4859-B4C7-15ADCB262973}" dt="2023-04-17T06:28:33.081" v="3490" actId="478"/>
          <ac:spMkLst>
            <pc:docMk/>
            <pc:sldMk cId="4202540872" sldId="359"/>
            <ac:spMk id="18" creationId="{7C9FB8EE-3030-9E08-775D-4229B07D5804}"/>
          </ac:spMkLst>
        </pc:spChg>
        <pc:spChg chg="mod">
          <ac:chgData name="Gasteiger, Cassidy M" userId="49e4247d-81de-4625-ae16-f189e0b7e529" providerId="ADAL" clId="{3FA7B295-9721-4859-B4C7-15ADCB262973}" dt="2023-04-17T06:34:30.256" v="3652" actId="1076"/>
          <ac:spMkLst>
            <pc:docMk/>
            <pc:sldMk cId="4202540872" sldId="359"/>
            <ac:spMk id="23" creationId="{23E61462-C499-C4E9-300C-6F4FD64C8D94}"/>
          </ac:spMkLst>
        </pc:spChg>
        <pc:grpChg chg="mod">
          <ac:chgData name="Gasteiger, Cassidy M" userId="49e4247d-81de-4625-ae16-f189e0b7e529" providerId="ADAL" clId="{3FA7B295-9721-4859-B4C7-15ADCB262973}" dt="2023-04-17T06:33:38.703" v="3645" actId="1076"/>
          <ac:grpSpMkLst>
            <pc:docMk/>
            <pc:sldMk cId="4202540872" sldId="359"/>
            <ac:grpSpMk id="22" creationId="{EEF97E75-4B76-A112-EE79-DE36066685F2}"/>
          </ac:grpSpMkLst>
        </pc:grpChg>
      </pc:sldChg>
      <pc:sldChg chg="modSp mod">
        <pc:chgData name="Gasteiger, Cassidy M" userId="49e4247d-81de-4625-ae16-f189e0b7e529" providerId="ADAL" clId="{3FA7B295-9721-4859-B4C7-15ADCB262973}" dt="2023-04-19T23:15:15.079" v="4525" actId="20577"/>
        <pc:sldMkLst>
          <pc:docMk/>
          <pc:sldMk cId="4220220668" sldId="361"/>
        </pc:sldMkLst>
        <pc:spChg chg="mod">
          <ac:chgData name="Gasteiger, Cassidy M" userId="49e4247d-81de-4625-ae16-f189e0b7e529" providerId="ADAL" clId="{3FA7B295-9721-4859-B4C7-15ADCB262973}" dt="2023-04-19T23:15:15.079" v="4525" actId="20577"/>
          <ac:spMkLst>
            <pc:docMk/>
            <pc:sldMk cId="4220220668" sldId="361"/>
            <ac:spMk id="3" creationId="{19DA0307-2777-F02D-ADB8-421030F12C71}"/>
          </ac:spMkLst>
        </pc:spChg>
      </pc:sldChg>
      <pc:sldChg chg="ord">
        <pc:chgData name="Gasteiger, Cassidy M" userId="49e4247d-81de-4625-ae16-f189e0b7e529" providerId="ADAL" clId="{3FA7B295-9721-4859-B4C7-15ADCB262973}" dt="2023-04-17T05:19:04.354" v="3122"/>
        <pc:sldMkLst>
          <pc:docMk/>
          <pc:sldMk cId="4213173733" sldId="741"/>
        </pc:sldMkLst>
      </pc:sldChg>
      <pc:sldChg chg="modSp mod">
        <pc:chgData name="Gasteiger, Cassidy M" userId="49e4247d-81de-4625-ae16-f189e0b7e529" providerId="ADAL" clId="{3FA7B295-9721-4859-B4C7-15ADCB262973}" dt="2023-04-17T04:24:22.988" v="2556" actId="20577"/>
        <pc:sldMkLst>
          <pc:docMk/>
          <pc:sldMk cId="388332022" sldId="2141411861"/>
        </pc:sldMkLst>
        <pc:spChg chg="mod">
          <ac:chgData name="Gasteiger, Cassidy M" userId="49e4247d-81de-4625-ae16-f189e0b7e529" providerId="ADAL" clId="{3FA7B295-9721-4859-B4C7-15ADCB262973}" dt="2023-04-17T04:24:22.988" v="2556" actId="20577"/>
          <ac:spMkLst>
            <pc:docMk/>
            <pc:sldMk cId="388332022" sldId="2141411861"/>
            <ac:spMk id="20" creationId="{89BAC1AB-EB28-1CB4-BF7F-CD04671B2342}"/>
          </ac:spMkLst>
        </pc:spChg>
      </pc:sldChg>
      <pc:sldChg chg="delSp modSp mod">
        <pc:chgData name="Gasteiger, Cassidy M" userId="49e4247d-81de-4625-ae16-f189e0b7e529" providerId="ADAL" clId="{3FA7B295-9721-4859-B4C7-15ADCB262973}" dt="2023-04-17T03:57:21.094" v="2507" actId="1076"/>
        <pc:sldMkLst>
          <pc:docMk/>
          <pc:sldMk cId="426761716" sldId="2141411865"/>
        </pc:sldMkLst>
        <pc:spChg chg="mod">
          <ac:chgData name="Gasteiger, Cassidy M" userId="49e4247d-81de-4625-ae16-f189e0b7e529" providerId="ADAL" clId="{3FA7B295-9721-4859-B4C7-15ADCB262973}" dt="2023-04-17T03:56:36.366" v="2503" actId="255"/>
          <ac:spMkLst>
            <pc:docMk/>
            <pc:sldMk cId="426761716" sldId="2141411865"/>
            <ac:spMk id="4" creationId="{57197048-F1B9-38AB-DC8B-5E769897413B}"/>
          </ac:spMkLst>
        </pc:spChg>
        <pc:graphicFrameChg chg="mod modGraphic">
          <ac:chgData name="Gasteiger, Cassidy M" userId="49e4247d-81de-4625-ae16-f189e0b7e529" providerId="ADAL" clId="{3FA7B295-9721-4859-B4C7-15ADCB262973}" dt="2023-04-17T03:57:21.094" v="2507" actId="1076"/>
          <ac:graphicFrameMkLst>
            <pc:docMk/>
            <pc:sldMk cId="426761716" sldId="2141411865"/>
            <ac:graphicFrameMk id="2" creationId="{FAFE7987-A72A-0A64-1AE1-4D74401D8A42}"/>
          </ac:graphicFrameMkLst>
        </pc:graphicFrameChg>
        <pc:picChg chg="del">
          <ac:chgData name="Gasteiger, Cassidy M" userId="49e4247d-81de-4625-ae16-f189e0b7e529" providerId="ADAL" clId="{3FA7B295-9721-4859-B4C7-15ADCB262973}" dt="2023-04-17T03:56:11.779" v="2500" actId="478"/>
          <ac:picMkLst>
            <pc:docMk/>
            <pc:sldMk cId="426761716" sldId="2141411865"/>
            <ac:picMk id="1028" creationId="{1B4A2BAE-7F7E-1CC6-6CFF-C5AF76EA8205}"/>
          </ac:picMkLst>
        </pc:picChg>
      </pc:sldChg>
      <pc:sldChg chg="delSp modSp mod">
        <pc:chgData name="Gasteiger, Cassidy M" userId="49e4247d-81de-4625-ae16-f189e0b7e529" providerId="ADAL" clId="{3FA7B295-9721-4859-B4C7-15ADCB262973}" dt="2023-04-17T03:57:07.908" v="2504" actId="5793"/>
        <pc:sldMkLst>
          <pc:docMk/>
          <pc:sldMk cId="2728272499" sldId="2141411866"/>
        </pc:sldMkLst>
        <pc:spChg chg="mod">
          <ac:chgData name="Gasteiger, Cassidy M" userId="49e4247d-81de-4625-ae16-f189e0b7e529" providerId="ADAL" clId="{3FA7B295-9721-4859-B4C7-15ADCB262973}" dt="2023-04-17T03:57:07.908" v="2504" actId="5793"/>
          <ac:spMkLst>
            <pc:docMk/>
            <pc:sldMk cId="2728272499" sldId="2141411866"/>
            <ac:spMk id="14" creationId="{D899B259-B9C4-EC4C-68D0-0CE1B7AA7781}"/>
          </ac:spMkLst>
        </pc:spChg>
        <pc:graphicFrameChg chg="mod">
          <ac:chgData name="Gasteiger, Cassidy M" userId="49e4247d-81de-4625-ae16-f189e0b7e529" providerId="ADAL" clId="{3FA7B295-9721-4859-B4C7-15ADCB262973}" dt="2023-04-17T03:55:28.699" v="2488" actId="1076"/>
          <ac:graphicFrameMkLst>
            <pc:docMk/>
            <pc:sldMk cId="2728272499" sldId="2141411866"/>
            <ac:graphicFrameMk id="10" creationId="{E2357BCA-829C-0B08-3E06-250E29AC8D5F}"/>
          </ac:graphicFrameMkLst>
        </pc:graphicFrameChg>
        <pc:picChg chg="mod">
          <ac:chgData name="Gasteiger, Cassidy M" userId="49e4247d-81de-4625-ae16-f189e0b7e529" providerId="ADAL" clId="{3FA7B295-9721-4859-B4C7-15ADCB262973}" dt="2023-04-17T03:55:24.949" v="2487" actId="1076"/>
          <ac:picMkLst>
            <pc:docMk/>
            <pc:sldMk cId="2728272499" sldId="2141411866"/>
            <ac:picMk id="15" creationId="{521AC29E-A842-992C-D690-6B75A71F23E6}"/>
          </ac:picMkLst>
        </pc:picChg>
        <pc:picChg chg="del">
          <ac:chgData name="Gasteiger, Cassidy M" userId="49e4247d-81de-4625-ae16-f189e0b7e529" providerId="ADAL" clId="{3FA7B295-9721-4859-B4C7-15ADCB262973}" dt="2023-04-17T03:54:33.073" v="2458" actId="478"/>
          <ac:picMkLst>
            <pc:docMk/>
            <pc:sldMk cId="2728272499" sldId="2141411866"/>
            <ac:picMk id="16" creationId="{E01BB813-784C-C2D3-1B04-71E016015A3C}"/>
          </ac:picMkLst>
        </pc:picChg>
      </pc:sldChg>
      <pc:sldChg chg="del ord">
        <pc:chgData name="Gasteiger, Cassidy M" userId="49e4247d-81de-4625-ae16-f189e0b7e529" providerId="ADAL" clId="{3FA7B295-9721-4859-B4C7-15ADCB262973}" dt="2023-04-17T03:42:11.420" v="1174" actId="2696"/>
        <pc:sldMkLst>
          <pc:docMk/>
          <pc:sldMk cId="3071891337" sldId="2141411874"/>
        </pc:sldMkLst>
      </pc:sldChg>
      <pc:sldChg chg="modSp mod">
        <pc:chgData name="Gasteiger, Cassidy M" userId="49e4247d-81de-4625-ae16-f189e0b7e529" providerId="ADAL" clId="{3FA7B295-9721-4859-B4C7-15ADCB262973}" dt="2023-04-17T04:24:18.037" v="2548" actId="20577"/>
        <pc:sldMkLst>
          <pc:docMk/>
          <pc:sldMk cId="706543021" sldId="2141411875"/>
        </pc:sldMkLst>
        <pc:spChg chg="mod">
          <ac:chgData name="Gasteiger, Cassidy M" userId="49e4247d-81de-4625-ae16-f189e0b7e529" providerId="ADAL" clId="{3FA7B295-9721-4859-B4C7-15ADCB262973}" dt="2023-04-17T04:24:18.037" v="2548" actId="20577"/>
          <ac:spMkLst>
            <pc:docMk/>
            <pc:sldMk cId="706543021" sldId="2141411875"/>
            <ac:spMk id="20" creationId="{89BAC1AB-EB28-1CB4-BF7F-CD04671B2342}"/>
          </ac:spMkLst>
        </pc:spChg>
      </pc:sldChg>
      <pc:sldChg chg="modSp mod">
        <pc:chgData name="Gasteiger, Cassidy M" userId="49e4247d-81de-4625-ae16-f189e0b7e529" providerId="ADAL" clId="{3FA7B295-9721-4859-B4C7-15ADCB262973}" dt="2023-04-17T04:24:12.097" v="2540" actId="20577"/>
        <pc:sldMkLst>
          <pc:docMk/>
          <pc:sldMk cId="909057292" sldId="2141411876"/>
        </pc:sldMkLst>
        <pc:spChg chg="mod">
          <ac:chgData name="Gasteiger, Cassidy M" userId="49e4247d-81de-4625-ae16-f189e0b7e529" providerId="ADAL" clId="{3FA7B295-9721-4859-B4C7-15ADCB262973}" dt="2023-04-17T04:24:12.097" v="2540" actId="20577"/>
          <ac:spMkLst>
            <pc:docMk/>
            <pc:sldMk cId="909057292" sldId="2141411876"/>
            <ac:spMk id="20" creationId="{89BAC1AB-EB28-1CB4-BF7F-CD04671B2342}"/>
          </ac:spMkLst>
        </pc:spChg>
      </pc:sldChg>
      <pc:sldChg chg="modSp mod">
        <pc:chgData name="Gasteiger, Cassidy M" userId="49e4247d-81de-4625-ae16-f189e0b7e529" providerId="ADAL" clId="{3FA7B295-9721-4859-B4C7-15ADCB262973}" dt="2023-04-17T04:24:06.393" v="2532" actId="20577"/>
        <pc:sldMkLst>
          <pc:docMk/>
          <pc:sldMk cId="3720081585" sldId="2141411877"/>
        </pc:sldMkLst>
        <pc:spChg chg="mod">
          <ac:chgData name="Gasteiger, Cassidy M" userId="49e4247d-81de-4625-ae16-f189e0b7e529" providerId="ADAL" clId="{3FA7B295-9721-4859-B4C7-15ADCB262973}" dt="2023-04-17T04:24:06.393" v="2532" actId="20577"/>
          <ac:spMkLst>
            <pc:docMk/>
            <pc:sldMk cId="3720081585" sldId="2141411877"/>
            <ac:spMk id="20" creationId="{89BAC1AB-EB28-1CB4-BF7F-CD04671B2342}"/>
          </ac:spMkLst>
        </pc:spChg>
      </pc:sldChg>
      <pc:sldChg chg="modSp mod">
        <pc:chgData name="Gasteiger, Cassidy M" userId="49e4247d-81de-4625-ae16-f189e0b7e529" providerId="ADAL" clId="{3FA7B295-9721-4859-B4C7-15ADCB262973}" dt="2023-04-17T04:24:30.262" v="2566" actId="5793"/>
        <pc:sldMkLst>
          <pc:docMk/>
          <pc:sldMk cId="2268257628" sldId="2141411878"/>
        </pc:sldMkLst>
        <pc:spChg chg="mod">
          <ac:chgData name="Gasteiger, Cassidy M" userId="49e4247d-81de-4625-ae16-f189e0b7e529" providerId="ADAL" clId="{3FA7B295-9721-4859-B4C7-15ADCB262973}" dt="2023-04-17T04:24:30.262" v="2566" actId="5793"/>
          <ac:spMkLst>
            <pc:docMk/>
            <pc:sldMk cId="2268257628" sldId="2141411878"/>
            <ac:spMk id="20" creationId="{89BAC1AB-EB28-1CB4-BF7F-CD04671B2342}"/>
          </ac:spMkLst>
        </pc:spChg>
      </pc:sldChg>
      <pc:sldChg chg="addSp delSp modSp add mod">
        <pc:chgData name="Gasteiger, Cassidy M" userId="49e4247d-81de-4625-ae16-f189e0b7e529" providerId="ADAL" clId="{3FA7B295-9721-4859-B4C7-15ADCB262973}" dt="2023-04-17T15:27:55.998" v="4428" actId="20577"/>
        <pc:sldMkLst>
          <pc:docMk/>
          <pc:sldMk cId="619965697" sldId="2141411879"/>
        </pc:sldMkLst>
        <pc:spChg chg="del mod">
          <ac:chgData name="Gasteiger, Cassidy M" userId="49e4247d-81de-4625-ae16-f189e0b7e529" providerId="ADAL" clId="{3FA7B295-9721-4859-B4C7-15ADCB262973}" dt="2023-04-17T15:23:29.514" v="4228" actId="478"/>
          <ac:spMkLst>
            <pc:docMk/>
            <pc:sldMk cId="619965697" sldId="2141411879"/>
            <ac:spMk id="4" creationId="{54E50E94-A97C-49B1-9E1D-1E94619B2F3F}"/>
          </ac:spMkLst>
        </pc:spChg>
        <pc:spChg chg="add mod">
          <ac:chgData name="Gasteiger, Cassidy M" userId="49e4247d-81de-4625-ae16-f189e0b7e529" providerId="ADAL" clId="{3FA7B295-9721-4859-B4C7-15ADCB262973}" dt="2023-04-17T15:27:55.998" v="4428" actId="20577"/>
          <ac:spMkLst>
            <pc:docMk/>
            <pc:sldMk cId="619965697" sldId="2141411879"/>
            <ac:spMk id="6" creationId="{A80CF807-E83B-CBCC-2CC9-D0CEFAC5117B}"/>
          </ac:spMkLst>
        </pc:spChg>
        <pc:spChg chg="mod">
          <ac:chgData name="Gasteiger, Cassidy M" userId="49e4247d-81de-4625-ae16-f189e0b7e529" providerId="ADAL" clId="{3FA7B295-9721-4859-B4C7-15ADCB262973}" dt="2023-04-17T15:27:39.198" v="4382" actId="14100"/>
          <ac:spMkLst>
            <pc:docMk/>
            <pc:sldMk cId="619965697" sldId="2141411879"/>
            <ac:spMk id="9" creationId="{A9A9305F-B597-9FF4-9424-14A7F3C3D912}"/>
          </ac:spMkLst>
        </pc:spChg>
        <pc:spChg chg="mod">
          <ac:chgData name="Gasteiger, Cassidy M" userId="49e4247d-81de-4625-ae16-f189e0b7e529" providerId="ADAL" clId="{3FA7B295-9721-4859-B4C7-15ADCB262973}" dt="2023-04-17T15:23:50.527" v="4264" actId="20577"/>
          <ac:spMkLst>
            <pc:docMk/>
            <pc:sldMk cId="619965697" sldId="2141411879"/>
            <ac:spMk id="10" creationId="{CD53167C-5231-A8FF-9E65-7F01334ECDCB}"/>
          </ac:spMkLst>
        </pc:spChg>
        <pc:spChg chg="mod">
          <ac:chgData name="Gasteiger, Cassidy M" userId="49e4247d-81de-4625-ae16-f189e0b7e529" providerId="ADAL" clId="{3FA7B295-9721-4859-B4C7-15ADCB262973}" dt="2023-04-17T02:45:34.853" v="528" actId="20577"/>
          <ac:spMkLst>
            <pc:docMk/>
            <pc:sldMk cId="619965697" sldId="2141411879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3FA7B295-9721-4859-B4C7-15ADCB262973}" dt="2023-04-17T15:27:19.754" v="4370" actId="14100"/>
          <ac:grpSpMkLst>
            <pc:docMk/>
            <pc:sldMk cId="619965697" sldId="2141411879"/>
            <ac:grpSpMk id="8" creationId="{BE681777-38B9-3D3F-2716-E54D4D6E2FF5}"/>
          </ac:grpSpMkLst>
        </pc:grpChg>
        <pc:graphicFrameChg chg="add del mod">
          <ac:chgData name="Gasteiger, Cassidy M" userId="49e4247d-81de-4625-ae16-f189e0b7e529" providerId="ADAL" clId="{3FA7B295-9721-4859-B4C7-15ADCB262973}" dt="2023-04-17T15:27:15.793" v="4369" actId="478"/>
          <ac:graphicFrameMkLst>
            <pc:docMk/>
            <pc:sldMk cId="619965697" sldId="2141411879"/>
            <ac:graphicFrameMk id="11" creationId="{8C139295-BAFA-53FF-0746-FA3A5D33479D}"/>
          </ac:graphicFrameMkLst>
        </pc:graphicFrameChg>
        <pc:picChg chg="del">
          <ac:chgData name="Gasteiger, Cassidy M" userId="49e4247d-81de-4625-ae16-f189e0b7e529" providerId="ADAL" clId="{3FA7B295-9721-4859-B4C7-15ADCB262973}" dt="2023-04-17T02:47:10.666" v="563" actId="478"/>
          <ac:picMkLst>
            <pc:docMk/>
            <pc:sldMk cId="619965697" sldId="2141411879"/>
            <ac:picMk id="7" creationId="{C5096256-01C0-B66D-3005-CC8C1B794D7A}"/>
          </ac:picMkLst>
        </pc:picChg>
      </pc:sldChg>
      <pc:sldChg chg="addSp delSp modSp add mod ord">
        <pc:chgData name="Gasteiger, Cassidy M" userId="49e4247d-81de-4625-ae16-f189e0b7e529" providerId="ADAL" clId="{3FA7B295-9721-4859-B4C7-15ADCB262973}" dt="2023-04-17T16:08:45.476" v="4454" actId="20577"/>
        <pc:sldMkLst>
          <pc:docMk/>
          <pc:sldMk cId="2330847497" sldId="2141411880"/>
        </pc:sldMkLst>
        <pc:spChg chg="del mod">
          <ac:chgData name="Gasteiger, Cassidy M" userId="49e4247d-81de-4625-ae16-f189e0b7e529" providerId="ADAL" clId="{3FA7B295-9721-4859-B4C7-15ADCB262973}" dt="2023-04-17T06:21:43.803" v="3403" actId="478"/>
          <ac:spMkLst>
            <pc:docMk/>
            <pc:sldMk cId="2330847497" sldId="2141411880"/>
            <ac:spMk id="14" creationId="{D899B259-B9C4-EC4C-68D0-0CE1B7AA7781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0" creationId="{CD211EFF-537F-6694-E474-C8C5ACA0D042}"/>
          </ac:spMkLst>
        </pc:spChg>
        <pc:spChg chg="add del mod">
          <ac:chgData name="Gasteiger, Cassidy M" userId="49e4247d-81de-4625-ae16-f189e0b7e529" providerId="ADAL" clId="{3FA7B295-9721-4859-B4C7-15ADCB262973}" dt="2023-04-17T05:15:38.622" v="3113" actId="478"/>
          <ac:spMkLst>
            <pc:docMk/>
            <pc:sldMk cId="2330847497" sldId="2141411880"/>
            <ac:spMk id="22" creationId="{4B2A241F-2ADD-6826-3AAC-184ACCD7EF6E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4" creationId="{4DCEADCA-8443-EABD-CB61-67A5ECF00EE7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5" creationId="{8CFF3354-12C8-DAAE-1832-0F55C74B0111}"/>
          </ac:spMkLst>
        </pc:spChg>
        <pc:spChg chg="add mod">
          <ac:chgData name="Gasteiger, Cassidy M" userId="49e4247d-81de-4625-ae16-f189e0b7e529" providerId="ADAL" clId="{3FA7B295-9721-4859-B4C7-15ADCB262973}" dt="2023-04-17T06:06:50.313" v="3271" actId="164"/>
          <ac:spMkLst>
            <pc:docMk/>
            <pc:sldMk cId="2330847497" sldId="2141411880"/>
            <ac:spMk id="26" creationId="{515361BC-E95B-8E94-A82D-098732573BF2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8" creationId="{1A969D54-9DB7-902E-D9BE-A9F636EEF058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9" creationId="{DDA16620-FAF0-89C2-277D-AD487839873C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31" creationId="{C2BEA378-A2F3-4C53-5F06-8B2E02DE64C9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32" creationId="{6CF0656D-4317-CE8E-66A0-DF96706DE623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34" creationId="{CA0F6C56-DD58-4546-1B64-22B3776B3762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35" creationId="{F1822E32-33C4-AADC-0300-F653830491D6}"/>
          </ac:spMkLst>
        </pc:spChg>
        <pc:spChg chg="add del mod">
          <ac:chgData name="Gasteiger, Cassidy M" userId="49e4247d-81de-4625-ae16-f189e0b7e529" providerId="ADAL" clId="{3FA7B295-9721-4859-B4C7-15ADCB262973}" dt="2023-04-17T05:13:29.184" v="3096" actId="478"/>
          <ac:spMkLst>
            <pc:docMk/>
            <pc:sldMk cId="2330847497" sldId="2141411880"/>
            <ac:spMk id="36" creationId="{1DACF816-E0F3-BCBC-956C-9AD39A3AC5B4}"/>
          </ac:spMkLst>
        </pc:spChg>
        <pc:spChg chg="add del mod">
          <ac:chgData name="Gasteiger, Cassidy M" userId="49e4247d-81de-4625-ae16-f189e0b7e529" providerId="ADAL" clId="{3FA7B295-9721-4859-B4C7-15ADCB262973}" dt="2023-04-17T05:13:29.184" v="3096" actId="478"/>
          <ac:spMkLst>
            <pc:docMk/>
            <pc:sldMk cId="2330847497" sldId="2141411880"/>
            <ac:spMk id="37" creationId="{8ED81C77-EA80-E773-1630-1DE4B2BB345F}"/>
          </ac:spMkLst>
        </pc:spChg>
        <pc:spChg chg="add del mod">
          <ac:chgData name="Gasteiger, Cassidy M" userId="49e4247d-81de-4625-ae16-f189e0b7e529" providerId="ADAL" clId="{3FA7B295-9721-4859-B4C7-15ADCB262973}" dt="2023-04-17T05:13:29.184" v="3096" actId="478"/>
          <ac:spMkLst>
            <pc:docMk/>
            <pc:sldMk cId="2330847497" sldId="2141411880"/>
            <ac:spMk id="38" creationId="{C7722868-D5FA-55C6-CFCC-C5CB8178A0B6}"/>
          </ac:spMkLst>
        </pc:spChg>
        <pc:spChg chg="add del mod">
          <ac:chgData name="Gasteiger, Cassidy M" userId="49e4247d-81de-4625-ae16-f189e0b7e529" providerId="ADAL" clId="{3FA7B295-9721-4859-B4C7-15ADCB262973}" dt="2023-04-17T05:13:29.184" v="3096" actId="478"/>
          <ac:spMkLst>
            <pc:docMk/>
            <pc:sldMk cId="2330847497" sldId="2141411880"/>
            <ac:spMk id="39" creationId="{0C7024FF-7F16-F533-73FE-D6B8EB2C9197}"/>
          </ac:spMkLst>
        </pc:spChg>
        <pc:spChg chg="add del mod">
          <ac:chgData name="Gasteiger, Cassidy M" userId="49e4247d-81de-4625-ae16-f189e0b7e529" providerId="ADAL" clId="{3FA7B295-9721-4859-B4C7-15ADCB262973}" dt="2023-04-17T05:13:29.184" v="3096" actId="478"/>
          <ac:spMkLst>
            <pc:docMk/>
            <pc:sldMk cId="2330847497" sldId="2141411880"/>
            <ac:spMk id="40" creationId="{640C61FA-FB5E-A5DF-15A2-E1FD7FDBAA72}"/>
          </ac:spMkLst>
        </pc:spChg>
        <pc:spChg chg="add del mod">
          <ac:chgData name="Gasteiger, Cassidy M" userId="49e4247d-81de-4625-ae16-f189e0b7e529" providerId="ADAL" clId="{3FA7B295-9721-4859-B4C7-15ADCB262973}" dt="2023-04-17T05:13:29.184" v="3096" actId="478"/>
          <ac:spMkLst>
            <pc:docMk/>
            <pc:sldMk cId="2330847497" sldId="2141411880"/>
            <ac:spMk id="41" creationId="{86174FCE-F3BD-BD53-92D7-4A8DE248C36C}"/>
          </ac:spMkLst>
        </pc:spChg>
        <pc:spChg chg="add del mod">
          <ac:chgData name="Gasteiger, Cassidy M" userId="49e4247d-81de-4625-ae16-f189e0b7e529" providerId="ADAL" clId="{3FA7B295-9721-4859-B4C7-15ADCB262973}" dt="2023-04-17T05:13:29.184" v="3096" actId="478"/>
          <ac:spMkLst>
            <pc:docMk/>
            <pc:sldMk cId="2330847497" sldId="2141411880"/>
            <ac:spMk id="42" creationId="{FDD779B0-C59A-D72E-021A-83FAE9FE2092}"/>
          </ac:spMkLst>
        </pc:spChg>
        <pc:spChg chg="add del mod">
          <ac:chgData name="Gasteiger, Cassidy M" userId="49e4247d-81de-4625-ae16-f189e0b7e529" providerId="ADAL" clId="{3FA7B295-9721-4859-B4C7-15ADCB262973}" dt="2023-04-17T05:13:29.184" v="3096" actId="478"/>
          <ac:spMkLst>
            <pc:docMk/>
            <pc:sldMk cId="2330847497" sldId="2141411880"/>
            <ac:spMk id="43" creationId="{7F75FA68-C301-428F-2BF7-443FC3FC9438}"/>
          </ac:spMkLst>
        </pc:spChg>
        <pc:spChg chg="add del mod">
          <ac:chgData name="Gasteiger, Cassidy M" userId="49e4247d-81de-4625-ae16-f189e0b7e529" providerId="ADAL" clId="{3FA7B295-9721-4859-B4C7-15ADCB262973}" dt="2023-04-17T05:13:29.184" v="3096" actId="478"/>
          <ac:spMkLst>
            <pc:docMk/>
            <pc:sldMk cId="2330847497" sldId="2141411880"/>
            <ac:spMk id="44" creationId="{7B429E7A-448E-A871-EE37-F6A57E67354E}"/>
          </ac:spMkLst>
        </pc:spChg>
        <pc:spChg chg="add del mod">
          <ac:chgData name="Gasteiger, Cassidy M" userId="49e4247d-81de-4625-ae16-f189e0b7e529" providerId="ADAL" clId="{3FA7B295-9721-4859-B4C7-15ADCB262973}" dt="2023-04-17T05:13:29.184" v="3096" actId="478"/>
          <ac:spMkLst>
            <pc:docMk/>
            <pc:sldMk cId="2330847497" sldId="2141411880"/>
            <ac:spMk id="45" creationId="{5A334D8C-02EF-A788-A25D-237C71DE182C}"/>
          </ac:spMkLst>
        </pc:spChg>
        <pc:spChg chg="add del mod">
          <ac:chgData name="Gasteiger, Cassidy M" userId="49e4247d-81de-4625-ae16-f189e0b7e529" providerId="ADAL" clId="{3FA7B295-9721-4859-B4C7-15ADCB262973}" dt="2023-04-17T05:13:31.924" v="3097" actId="478"/>
          <ac:spMkLst>
            <pc:docMk/>
            <pc:sldMk cId="2330847497" sldId="2141411880"/>
            <ac:spMk id="46" creationId="{9664A592-859C-E405-399C-F15F2679797B}"/>
          </ac:spMkLst>
        </pc:spChg>
        <pc:spChg chg="add mod">
          <ac:chgData name="Gasteiger, Cassidy M" userId="49e4247d-81de-4625-ae16-f189e0b7e529" providerId="ADAL" clId="{3FA7B295-9721-4859-B4C7-15ADCB262973}" dt="2023-04-17T06:06:50.313" v="3271" actId="164"/>
          <ac:spMkLst>
            <pc:docMk/>
            <pc:sldMk cId="2330847497" sldId="2141411880"/>
            <ac:spMk id="47" creationId="{A3DD1A1D-A57E-04A2-D3F5-6D83670DB569}"/>
          </ac:spMkLst>
        </pc:spChg>
        <pc:spChg chg="add mod">
          <ac:chgData name="Gasteiger, Cassidy M" userId="49e4247d-81de-4625-ae16-f189e0b7e529" providerId="ADAL" clId="{3FA7B295-9721-4859-B4C7-15ADCB262973}" dt="2023-04-17T06:06:50.313" v="3271" actId="164"/>
          <ac:spMkLst>
            <pc:docMk/>
            <pc:sldMk cId="2330847497" sldId="2141411880"/>
            <ac:spMk id="48" creationId="{A43AC397-C98B-0C38-0B22-06382399D1F8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50" creationId="{529F3C1B-E7A3-9F97-58AB-EC6B11DAFEBD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51" creationId="{BFEA1773-1362-65BA-0B2F-8E29131128E6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53" creationId="{96E0773C-4BF6-5054-F83B-B479C435A4DF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54" creationId="{F4290F88-542A-AFD7-1428-0783282C3905}"/>
          </ac:spMkLst>
        </pc:spChg>
        <pc:spChg chg="add del mod">
          <ac:chgData name="Gasteiger, Cassidy M" userId="49e4247d-81de-4625-ae16-f189e0b7e529" providerId="ADAL" clId="{3FA7B295-9721-4859-B4C7-15ADCB262973}" dt="2023-04-17T05:11:57.673" v="3071" actId="478"/>
          <ac:spMkLst>
            <pc:docMk/>
            <pc:sldMk cId="2330847497" sldId="2141411880"/>
            <ac:spMk id="55" creationId="{77BBF4B5-CB79-3887-437F-3F15E3C917B2}"/>
          </ac:spMkLst>
        </pc:spChg>
        <pc:spChg chg="add del mod">
          <ac:chgData name="Gasteiger, Cassidy M" userId="49e4247d-81de-4625-ae16-f189e0b7e529" providerId="ADAL" clId="{3FA7B295-9721-4859-B4C7-15ADCB262973}" dt="2023-04-17T05:11:54.952" v="3069" actId="478"/>
          <ac:spMkLst>
            <pc:docMk/>
            <pc:sldMk cId="2330847497" sldId="2141411880"/>
            <ac:spMk id="56" creationId="{6BDAE2F6-6F99-3946-1F20-9E3FE97F927C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58" creationId="{ACBCC8F4-115B-F7C9-76F6-32DB563DAB8B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59" creationId="{9E27EB68-AD13-9504-25C1-C43D6A8BA926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61" creationId="{8C26E088-33A0-01FC-41DC-F5964036B003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62" creationId="{E04A27F1-5CBE-0016-2EA6-383CF837F84A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192" creationId="{F674ABD3-8EDF-2326-5C45-A9C9863A3EC7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193" creationId="{19355530-87A8-5E09-5D13-3D455818CEA2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195" creationId="{5AC52311-BF32-E273-4870-D203B9F541AA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196" creationId="{8E235D1F-5D5F-0A18-DAC3-D9024D7C0AC6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198" creationId="{A8B4629C-7B75-5916-CC46-9E8C9883801F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199" creationId="{3BC68239-807D-2EB8-79A2-0C9B445E2CE7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01" creationId="{64522E2F-9043-19A8-1B22-482E09046122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02" creationId="{0FEE4CDC-2A73-F05D-5DC1-E7E14920A51C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04" creationId="{607DB0F3-E083-46C2-28A1-6EA6564BCD70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05" creationId="{A9DFDD76-9441-0744-DE38-6BD324B3A803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07" creationId="{C6D0C53E-CDE9-262F-5330-9FB573B28BCB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08" creationId="{94BF0DBC-578A-A3BE-574C-6D908DFB0693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10" creationId="{3B9C3C02-46D4-862F-AEE9-F85DF3113D54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11" creationId="{585420E3-357A-665A-F491-AF1A39E63563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13" creationId="{EE2632B9-38D4-27F2-E19C-955CD43B9F26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14" creationId="{4DAF32C2-780D-8D7B-8E45-FBB33D4129AF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16" creationId="{CD9D62F0-4291-9F7A-A8AE-E80E89CC5BC7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17" creationId="{AF2C0B10-8FAB-1497-53E8-A902E632853D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19" creationId="{FACD7B57-6844-5F01-473E-CD477CDC4EF6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20" creationId="{B012E55C-0504-1F8D-E386-19F496AA4E3C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24" creationId="{C0A845C8-B746-B4AB-2C27-E0256872AA00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27" creationId="{525889F5-3153-9105-3FA0-76D76507893C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30" creationId="{9A52E75F-8F6A-4504-5B86-84C3BF840918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33" creationId="{1C80B8F1-5917-8205-A9B1-D51D5925CD81}"/>
          </ac:spMkLst>
        </pc:spChg>
        <pc:spChg chg="mod">
          <ac:chgData name="Gasteiger, Cassidy M" userId="49e4247d-81de-4625-ae16-f189e0b7e529" providerId="ADAL" clId="{3FA7B295-9721-4859-B4C7-15ADCB262973}" dt="2023-04-17T16:08:45.476" v="4454" actId="20577"/>
          <ac:spMkLst>
            <pc:docMk/>
            <pc:sldMk cId="2330847497" sldId="2141411880"/>
            <ac:spMk id="235" creationId="{00000000-0000-0000-0000-000000000000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37" creationId="{1A55C641-3801-3E6D-AB9A-A41565D3F94D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40" creationId="{27B38FE9-84FE-E722-DB04-47AEEE435B6E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43" creationId="{348035B6-84CF-AA5F-5473-40C8BF59A11B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46" creationId="{AB21245B-AA5D-8B1C-468A-C9270CAAD60C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49" creationId="{572BF760-48A0-8F5A-39B8-647D43242876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52" creationId="{E2D37D5A-D348-2BAD-EE5C-84351AF84F3B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55" creationId="{B971902E-B164-7DD3-CC23-F39510F97E3D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58" creationId="{87D0F320-F1F1-05E9-A2B7-C8927DA51311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61" creationId="{9531E6B8-C70A-237F-B881-E200F8D14176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64" creationId="{3E6304FF-9D64-A0C0-97C0-FDF40A6C090F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67" creationId="{2C1E5C21-98F9-ECEC-51AA-3AC87C2F518E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70" creationId="{93CD02BF-94F7-4174-4744-97567EF536BF}"/>
          </ac:spMkLst>
        </pc:spChg>
        <pc:spChg chg="mod">
          <ac:chgData name="Gasteiger, Cassidy M" userId="49e4247d-81de-4625-ae16-f189e0b7e529" providerId="ADAL" clId="{3FA7B295-9721-4859-B4C7-15ADCB262973}" dt="2023-04-17T05:09:55.968" v="2893"/>
          <ac:spMkLst>
            <pc:docMk/>
            <pc:sldMk cId="2330847497" sldId="2141411880"/>
            <ac:spMk id="273" creationId="{834A67C9-BF49-2A2D-C860-EEDFD438CAD3}"/>
          </ac:spMkLst>
        </pc:spChg>
        <pc:spChg chg="add del mod">
          <ac:chgData name="Gasteiger, Cassidy M" userId="49e4247d-81de-4625-ae16-f189e0b7e529" providerId="ADAL" clId="{3FA7B295-9721-4859-B4C7-15ADCB262973}" dt="2023-04-17T05:10:43.894" v="2905" actId="478"/>
          <ac:spMkLst>
            <pc:docMk/>
            <pc:sldMk cId="2330847497" sldId="2141411880"/>
            <ac:spMk id="275" creationId="{E1FF822B-B99D-F766-1AD2-CE8948073D44}"/>
          </ac:spMkLst>
        </pc:spChg>
        <pc:spChg chg="add del mod">
          <ac:chgData name="Gasteiger, Cassidy M" userId="49e4247d-81de-4625-ae16-f189e0b7e529" providerId="ADAL" clId="{3FA7B295-9721-4859-B4C7-15ADCB262973}" dt="2023-04-17T05:11:47.244" v="3066" actId="478"/>
          <ac:spMkLst>
            <pc:docMk/>
            <pc:sldMk cId="2330847497" sldId="2141411880"/>
            <ac:spMk id="276" creationId="{49FE3E7F-5E36-212D-5BF5-57E05FE0C7CF}"/>
          </ac:spMkLst>
        </pc:spChg>
        <pc:spChg chg="add del mod">
          <ac:chgData name="Gasteiger, Cassidy M" userId="49e4247d-81de-4625-ae16-f189e0b7e529" providerId="ADAL" clId="{3FA7B295-9721-4859-B4C7-15ADCB262973}" dt="2023-04-17T05:11:49.115" v="3067" actId="478"/>
          <ac:spMkLst>
            <pc:docMk/>
            <pc:sldMk cId="2330847497" sldId="2141411880"/>
            <ac:spMk id="277" creationId="{CCC57526-0D03-6E99-4B2A-67FC3ACF2455}"/>
          </ac:spMkLst>
        </pc:spChg>
        <pc:spChg chg="add mod">
          <ac:chgData name="Gasteiger, Cassidy M" userId="49e4247d-81de-4625-ae16-f189e0b7e529" providerId="ADAL" clId="{3FA7B295-9721-4859-B4C7-15ADCB262973}" dt="2023-04-17T06:06:50.313" v="3271" actId="164"/>
          <ac:spMkLst>
            <pc:docMk/>
            <pc:sldMk cId="2330847497" sldId="2141411880"/>
            <ac:spMk id="278" creationId="{35F1E4B4-3B89-A3C8-416A-9C0C10E8BB23}"/>
          </ac:spMkLst>
        </pc:spChg>
        <pc:spChg chg="add mod">
          <ac:chgData name="Gasteiger, Cassidy M" userId="49e4247d-81de-4625-ae16-f189e0b7e529" providerId="ADAL" clId="{3FA7B295-9721-4859-B4C7-15ADCB262973}" dt="2023-04-17T06:06:50.313" v="3271" actId="164"/>
          <ac:spMkLst>
            <pc:docMk/>
            <pc:sldMk cId="2330847497" sldId="2141411880"/>
            <ac:spMk id="279" creationId="{9A2BC52C-6592-7633-8194-5B4F5B2FFDF3}"/>
          </ac:spMkLst>
        </pc:spChg>
        <pc:spChg chg="add mod">
          <ac:chgData name="Gasteiger, Cassidy M" userId="49e4247d-81de-4625-ae16-f189e0b7e529" providerId="ADAL" clId="{3FA7B295-9721-4859-B4C7-15ADCB262973}" dt="2023-04-17T06:06:50.313" v="3271" actId="164"/>
          <ac:spMkLst>
            <pc:docMk/>
            <pc:sldMk cId="2330847497" sldId="2141411880"/>
            <ac:spMk id="280" creationId="{00720CE6-0FC0-1AE0-B596-4975B9255F43}"/>
          </ac:spMkLst>
        </pc:spChg>
        <pc:spChg chg="mod">
          <ac:chgData name="Gasteiger, Cassidy M" userId="49e4247d-81de-4625-ae16-f189e0b7e529" providerId="ADAL" clId="{3FA7B295-9721-4859-B4C7-15ADCB262973}" dt="2023-04-17T05:15:27.939" v="3109"/>
          <ac:spMkLst>
            <pc:docMk/>
            <pc:sldMk cId="2330847497" sldId="2141411880"/>
            <ac:spMk id="282" creationId="{8FF29F5A-40E3-5B52-C3CE-20C05A267035}"/>
          </ac:spMkLst>
        </pc:spChg>
        <pc:spChg chg="mod">
          <ac:chgData name="Gasteiger, Cassidy M" userId="49e4247d-81de-4625-ae16-f189e0b7e529" providerId="ADAL" clId="{3FA7B295-9721-4859-B4C7-15ADCB262973}" dt="2023-04-17T05:15:27.939" v="3109"/>
          <ac:spMkLst>
            <pc:docMk/>
            <pc:sldMk cId="2330847497" sldId="2141411880"/>
            <ac:spMk id="283" creationId="{C1D3A103-5F1D-501A-24D9-57E00271288E}"/>
          </ac:spMkLst>
        </pc:spChg>
        <pc:spChg chg="add mod">
          <ac:chgData name="Gasteiger, Cassidy M" userId="49e4247d-81de-4625-ae16-f189e0b7e529" providerId="ADAL" clId="{3FA7B295-9721-4859-B4C7-15ADCB262973}" dt="2023-04-17T06:06:50.313" v="3271" actId="164"/>
          <ac:spMkLst>
            <pc:docMk/>
            <pc:sldMk cId="2330847497" sldId="2141411880"/>
            <ac:spMk id="284" creationId="{3E0DF090-072B-1957-F8F4-335320E6ADA2}"/>
          </ac:spMkLst>
        </pc:spChg>
        <pc:spChg chg="mod">
          <ac:chgData name="Gasteiger, Cassidy M" userId="49e4247d-81de-4625-ae16-f189e0b7e529" providerId="ADAL" clId="{3FA7B295-9721-4859-B4C7-15ADCB262973}" dt="2023-04-17T05:15:40.604" v="3114"/>
          <ac:spMkLst>
            <pc:docMk/>
            <pc:sldMk cId="2330847497" sldId="2141411880"/>
            <ac:spMk id="286" creationId="{908FCBA4-96D3-C504-0E10-61D6C2C4602D}"/>
          </ac:spMkLst>
        </pc:spChg>
        <pc:spChg chg="mod">
          <ac:chgData name="Gasteiger, Cassidy M" userId="49e4247d-81de-4625-ae16-f189e0b7e529" providerId="ADAL" clId="{3FA7B295-9721-4859-B4C7-15ADCB262973}" dt="2023-04-17T05:15:40.604" v="3114"/>
          <ac:spMkLst>
            <pc:docMk/>
            <pc:sldMk cId="2330847497" sldId="2141411880"/>
            <ac:spMk id="287" creationId="{08C79744-8882-A072-EFF9-BAF637422273}"/>
          </ac:spMkLst>
        </pc:spChg>
        <pc:spChg chg="mod">
          <ac:chgData name="Gasteiger, Cassidy M" userId="49e4247d-81de-4625-ae16-f189e0b7e529" providerId="ADAL" clId="{3FA7B295-9721-4859-B4C7-15ADCB262973}" dt="2023-04-17T05:15:51.145" v="3117"/>
          <ac:spMkLst>
            <pc:docMk/>
            <pc:sldMk cId="2330847497" sldId="2141411880"/>
            <ac:spMk id="289" creationId="{81DB5238-EC49-88AD-0E24-52F2BCD08068}"/>
          </ac:spMkLst>
        </pc:spChg>
        <pc:spChg chg="mod">
          <ac:chgData name="Gasteiger, Cassidy M" userId="49e4247d-81de-4625-ae16-f189e0b7e529" providerId="ADAL" clId="{3FA7B295-9721-4859-B4C7-15ADCB262973}" dt="2023-04-17T05:15:51.145" v="3117"/>
          <ac:spMkLst>
            <pc:docMk/>
            <pc:sldMk cId="2330847497" sldId="2141411880"/>
            <ac:spMk id="290" creationId="{A4BDD91C-E609-56B4-960E-E0EAFF0ECC49}"/>
          </ac:spMkLst>
        </pc:spChg>
        <pc:spChg chg="add mod">
          <ac:chgData name="Gasteiger, Cassidy M" userId="49e4247d-81de-4625-ae16-f189e0b7e529" providerId="ADAL" clId="{3FA7B295-9721-4859-B4C7-15ADCB262973}" dt="2023-04-17T06:06:50.313" v="3271" actId="164"/>
          <ac:spMkLst>
            <pc:docMk/>
            <pc:sldMk cId="2330847497" sldId="2141411880"/>
            <ac:spMk id="291" creationId="{7C2C36CB-4D5A-E371-182F-CB393AA5CA79}"/>
          </ac:spMkLst>
        </pc:spChg>
        <pc:spChg chg="add mod">
          <ac:chgData name="Gasteiger, Cassidy M" userId="49e4247d-81de-4625-ae16-f189e0b7e529" providerId="ADAL" clId="{3FA7B295-9721-4859-B4C7-15ADCB262973}" dt="2023-04-17T06:06:50.313" v="3271" actId="164"/>
          <ac:spMkLst>
            <pc:docMk/>
            <pc:sldMk cId="2330847497" sldId="2141411880"/>
            <ac:spMk id="292" creationId="{50037982-698D-D4AE-CD0B-1D9A91C946B7}"/>
          </ac:spMkLst>
        </pc:spChg>
        <pc:spChg chg="add mod">
          <ac:chgData name="Gasteiger, Cassidy M" userId="49e4247d-81de-4625-ae16-f189e0b7e529" providerId="ADAL" clId="{3FA7B295-9721-4859-B4C7-15ADCB262973}" dt="2023-04-17T06:06:50.313" v="3271" actId="164"/>
          <ac:spMkLst>
            <pc:docMk/>
            <pc:sldMk cId="2330847497" sldId="2141411880"/>
            <ac:spMk id="293" creationId="{E811CE7F-41FF-1EBA-CFB3-F194062AAE60}"/>
          </ac:spMkLst>
        </pc:spChg>
        <pc:spChg chg="mod">
          <ac:chgData name="Gasteiger, Cassidy M" userId="49e4247d-81de-4625-ae16-f189e0b7e529" providerId="ADAL" clId="{3FA7B295-9721-4859-B4C7-15ADCB262973}" dt="2023-04-17T06:06:15.201" v="3259"/>
          <ac:spMkLst>
            <pc:docMk/>
            <pc:sldMk cId="2330847497" sldId="2141411880"/>
            <ac:spMk id="295" creationId="{3606B325-3FD6-CF73-CBB6-5F14213A99A3}"/>
          </ac:spMkLst>
        </pc:spChg>
        <pc:spChg chg="mod">
          <ac:chgData name="Gasteiger, Cassidy M" userId="49e4247d-81de-4625-ae16-f189e0b7e529" providerId="ADAL" clId="{3FA7B295-9721-4859-B4C7-15ADCB262973}" dt="2023-04-17T06:06:15.201" v="3259"/>
          <ac:spMkLst>
            <pc:docMk/>
            <pc:sldMk cId="2330847497" sldId="2141411880"/>
            <ac:spMk id="296" creationId="{F04C2EC8-7166-EBCC-A516-673183AFF5E3}"/>
          </ac:spMkLst>
        </pc:spChg>
        <pc:spChg chg="add mod">
          <ac:chgData name="Gasteiger, Cassidy M" userId="49e4247d-81de-4625-ae16-f189e0b7e529" providerId="ADAL" clId="{3FA7B295-9721-4859-B4C7-15ADCB262973}" dt="2023-04-17T06:06:50.313" v="3271" actId="164"/>
          <ac:spMkLst>
            <pc:docMk/>
            <pc:sldMk cId="2330847497" sldId="2141411880"/>
            <ac:spMk id="297" creationId="{2C70BB4E-534A-AE9C-7C92-858772BB0572}"/>
          </ac:spMkLst>
        </pc:spChg>
        <pc:spChg chg="add mod">
          <ac:chgData name="Gasteiger, Cassidy M" userId="49e4247d-81de-4625-ae16-f189e0b7e529" providerId="ADAL" clId="{3FA7B295-9721-4859-B4C7-15ADCB262973}" dt="2023-04-17T06:06:50.313" v="3271" actId="164"/>
          <ac:spMkLst>
            <pc:docMk/>
            <pc:sldMk cId="2330847497" sldId="2141411880"/>
            <ac:spMk id="298" creationId="{8153E177-C60A-ED29-7EC9-11C62DF05FF9}"/>
          </ac:spMkLst>
        </pc:spChg>
        <pc:spChg chg="mod">
          <ac:chgData name="Gasteiger, Cassidy M" userId="49e4247d-81de-4625-ae16-f189e0b7e529" providerId="ADAL" clId="{3FA7B295-9721-4859-B4C7-15ADCB262973}" dt="2023-04-17T06:06:32.036" v="3265"/>
          <ac:spMkLst>
            <pc:docMk/>
            <pc:sldMk cId="2330847497" sldId="2141411880"/>
            <ac:spMk id="300" creationId="{A20A7138-CBFF-210E-42F7-2F0951F6EDB3}"/>
          </ac:spMkLst>
        </pc:spChg>
        <pc:spChg chg="mod">
          <ac:chgData name="Gasteiger, Cassidy M" userId="49e4247d-81de-4625-ae16-f189e0b7e529" providerId="ADAL" clId="{3FA7B295-9721-4859-B4C7-15ADCB262973}" dt="2023-04-17T06:06:32.036" v="3265"/>
          <ac:spMkLst>
            <pc:docMk/>
            <pc:sldMk cId="2330847497" sldId="2141411880"/>
            <ac:spMk id="301" creationId="{62734BA6-F081-0E1D-2663-4F744B6C637E}"/>
          </ac:spMkLst>
        </pc:spChg>
        <pc:spChg chg="mod">
          <ac:chgData name="Gasteiger, Cassidy M" userId="49e4247d-81de-4625-ae16-f189e0b7e529" providerId="ADAL" clId="{3FA7B295-9721-4859-B4C7-15ADCB262973}" dt="2023-04-17T06:06:32.036" v="3265"/>
          <ac:spMkLst>
            <pc:docMk/>
            <pc:sldMk cId="2330847497" sldId="2141411880"/>
            <ac:spMk id="303" creationId="{E23D27F8-8525-3925-92E8-138D7CD5B725}"/>
          </ac:spMkLst>
        </pc:spChg>
        <pc:spChg chg="mod">
          <ac:chgData name="Gasteiger, Cassidy M" userId="49e4247d-81de-4625-ae16-f189e0b7e529" providerId="ADAL" clId="{3FA7B295-9721-4859-B4C7-15ADCB262973}" dt="2023-04-17T06:06:32.036" v="3265"/>
          <ac:spMkLst>
            <pc:docMk/>
            <pc:sldMk cId="2330847497" sldId="2141411880"/>
            <ac:spMk id="304" creationId="{846172DA-AC85-4901-E335-A9A024F494CE}"/>
          </ac:spMkLst>
        </pc:spChg>
        <pc:spChg chg="add mod">
          <ac:chgData name="Gasteiger, Cassidy M" userId="49e4247d-81de-4625-ae16-f189e0b7e529" providerId="ADAL" clId="{3FA7B295-9721-4859-B4C7-15ADCB262973}" dt="2023-04-17T06:25:53.324" v="3475" actId="164"/>
          <ac:spMkLst>
            <pc:docMk/>
            <pc:sldMk cId="2330847497" sldId="2141411880"/>
            <ac:spMk id="306" creationId="{2FF16D31-C286-5F48-E468-988A8480A2CE}"/>
          </ac:spMkLst>
        </pc:spChg>
        <pc:spChg chg="add del mod">
          <ac:chgData name="Gasteiger, Cassidy M" userId="49e4247d-81de-4625-ae16-f189e0b7e529" providerId="ADAL" clId="{3FA7B295-9721-4859-B4C7-15ADCB262973}" dt="2023-04-17T06:18:39.196" v="3343" actId="478"/>
          <ac:spMkLst>
            <pc:docMk/>
            <pc:sldMk cId="2330847497" sldId="2141411880"/>
            <ac:spMk id="309" creationId="{67096C2B-789F-81C0-1547-104768FF8F80}"/>
          </ac:spMkLst>
        </pc:spChg>
        <pc:spChg chg="add mod">
          <ac:chgData name="Gasteiger, Cassidy M" userId="49e4247d-81de-4625-ae16-f189e0b7e529" providerId="ADAL" clId="{3FA7B295-9721-4859-B4C7-15ADCB262973}" dt="2023-04-17T06:24:03.005" v="3450" actId="207"/>
          <ac:spMkLst>
            <pc:docMk/>
            <pc:sldMk cId="2330847497" sldId="2141411880"/>
            <ac:spMk id="311" creationId="{6484BF1E-7EC0-4CBB-B353-A6C586AA411D}"/>
          </ac:spMkLst>
        </pc:spChg>
        <pc:spChg chg="add mod">
          <ac:chgData name="Gasteiger, Cassidy M" userId="49e4247d-81de-4625-ae16-f189e0b7e529" providerId="ADAL" clId="{3FA7B295-9721-4859-B4C7-15ADCB262973}" dt="2023-04-17T06:26:31.068" v="3486" actId="20577"/>
          <ac:spMkLst>
            <pc:docMk/>
            <pc:sldMk cId="2330847497" sldId="2141411880"/>
            <ac:spMk id="312" creationId="{000D8B44-AAC6-12DF-FE81-455BBBF3343E}"/>
          </ac:spMkLst>
        </pc:spChg>
        <pc:spChg chg="add del mod">
          <ac:chgData name="Gasteiger, Cassidy M" userId="49e4247d-81de-4625-ae16-f189e0b7e529" providerId="ADAL" clId="{3FA7B295-9721-4859-B4C7-15ADCB262973}" dt="2023-04-17T06:23:49.153" v="3448" actId="478"/>
          <ac:spMkLst>
            <pc:docMk/>
            <pc:sldMk cId="2330847497" sldId="2141411880"/>
            <ac:spMk id="313" creationId="{CE84CAC1-3819-6F38-699E-F83729D5D582}"/>
          </ac:spMkLst>
        </pc:spChg>
        <pc:spChg chg="mod">
          <ac:chgData name="Gasteiger, Cassidy M" userId="49e4247d-81de-4625-ae16-f189e0b7e529" providerId="ADAL" clId="{3FA7B295-9721-4859-B4C7-15ADCB262973}" dt="2023-04-17T06:23:24.891" v="3444" actId="207"/>
          <ac:spMkLst>
            <pc:docMk/>
            <pc:sldMk cId="2330847497" sldId="2141411880"/>
            <ac:spMk id="316" creationId="{E1D8F0B3-39D3-428A-8F8E-DE3CCAA4BE47}"/>
          </ac:spMkLst>
        </pc:spChg>
        <pc:spChg chg="mod">
          <ac:chgData name="Gasteiger, Cassidy M" userId="49e4247d-81de-4625-ae16-f189e0b7e529" providerId="ADAL" clId="{3FA7B295-9721-4859-B4C7-15ADCB262973}" dt="2023-04-17T06:26:26.398" v="3482" actId="20577"/>
          <ac:spMkLst>
            <pc:docMk/>
            <pc:sldMk cId="2330847497" sldId="2141411880"/>
            <ac:spMk id="317" creationId="{092724E1-C931-9C4D-70BE-D25A7630099E}"/>
          </ac:spMkLst>
        </pc:spChg>
        <pc:spChg chg="mod">
          <ac:chgData name="Gasteiger, Cassidy M" userId="49e4247d-81de-4625-ae16-f189e0b7e529" providerId="ADAL" clId="{3FA7B295-9721-4859-B4C7-15ADCB262973}" dt="2023-04-17T06:23:43.575" v="3447" actId="207"/>
          <ac:spMkLst>
            <pc:docMk/>
            <pc:sldMk cId="2330847497" sldId="2141411880"/>
            <ac:spMk id="319" creationId="{1F82FE94-7891-F959-D8B1-B9621C98D437}"/>
          </ac:spMkLst>
        </pc:spChg>
        <pc:spChg chg="mod">
          <ac:chgData name="Gasteiger, Cassidy M" userId="49e4247d-81de-4625-ae16-f189e0b7e529" providerId="ADAL" clId="{3FA7B295-9721-4859-B4C7-15ADCB262973}" dt="2023-04-17T06:26:28.852" v="3484" actId="20577"/>
          <ac:spMkLst>
            <pc:docMk/>
            <pc:sldMk cId="2330847497" sldId="2141411880"/>
            <ac:spMk id="320" creationId="{C1577D1D-149C-4F04-3405-67770BC494F8}"/>
          </ac:spMkLst>
        </pc:spChg>
        <pc:spChg chg="add mod ord">
          <ac:chgData name="Gasteiger, Cassidy M" userId="49e4247d-81de-4625-ae16-f189e0b7e529" providerId="ADAL" clId="{3FA7B295-9721-4859-B4C7-15ADCB262973}" dt="2023-04-17T06:25:58.151" v="3476" actId="164"/>
          <ac:spMkLst>
            <pc:docMk/>
            <pc:sldMk cId="2330847497" sldId="2141411880"/>
            <ac:spMk id="321" creationId="{7F527470-9E10-5542-ED9A-49327336A8BD}"/>
          </ac:spMkLst>
        </pc:spChg>
        <pc:spChg chg="add mod ord">
          <ac:chgData name="Gasteiger, Cassidy M" userId="49e4247d-81de-4625-ae16-f189e0b7e529" providerId="ADAL" clId="{3FA7B295-9721-4859-B4C7-15ADCB262973}" dt="2023-04-17T06:25:48.213" v="3474" actId="164"/>
          <ac:spMkLst>
            <pc:docMk/>
            <pc:sldMk cId="2330847497" sldId="2141411880"/>
            <ac:spMk id="324" creationId="{E8C2A024-4018-6D08-A073-4ACDDC61CC32}"/>
          </ac:spMkLst>
        </pc:spChg>
        <pc:grpChg chg="add del mod">
          <ac:chgData name="Gasteiger, Cassidy M" userId="49e4247d-81de-4625-ae16-f189e0b7e529" providerId="ADAL" clId="{3FA7B295-9721-4859-B4C7-15ADCB262973}" dt="2023-04-17T05:11:31.908" v="3059" actId="478"/>
          <ac:grpSpMkLst>
            <pc:docMk/>
            <pc:sldMk cId="2330847497" sldId="2141411880"/>
            <ac:grpSpMk id="19" creationId="{CC0572B1-D686-AA0C-7DC8-1E2752598DAB}"/>
          </ac:grpSpMkLst>
        </pc:grpChg>
        <pc:grpChg chg="add mod">
          <ac:chgData name="Gasteiger, Cassidy M" userId="49e4247d-81de-4625-ae16-f189e0b7e529" providerId="ADAL" clId="{3FA7B295-9721-4859-B4C7-15ADCB262973}" dt="2023-04-17T06:06:50.313" v="3271" actId="164"/>
          <ac:grpSpMkLst>
            <pc:docMk/>
            <pc:sldMk cId="2330847497" sldId="2141411880"/>
            <ac:grpSpMk id="23" creationId="{02F02D51-05F8-9A96-1008-B1FA34301EAE}"/>
          </ac:grpSpMkLst>
        </pc:grpChg>
        <pc:grpChg chg="add mod">
          <ac:chgData name="Gasteiger, Cassidy M" userId="49e4247d-81de-4625-ae16-f189e0b7e529" providerId="ADAL" clId="{3FA7B295-9721-4859-B4C7-15ADCB262973}" dt="2023-04-17T06:06:50.313" v="3271" actId="164"/>
          <ac:grpSpMkLst>
            <pc:docMk/>
            <pc:sldMk cId="2330847497" sldId="2141411880"/>
            <ac:grpSpMk id="27" creationId="{AC1062C6-0321-EB1E-4904-52C20E4A22EE}"/>
          </ac:grpSpMkLst>
        </pc:grpChg>
        <pc:grpChg chg="add del mod">
          <ac:chgData name="Gasteiger, Cassidy M" userId="49e4247d-81de-4625-ae16-f189e0b7e529" providerId="ADAL" clId="{3FA7B295-9721-4859-B4C7-15ADCB262973}" dt="2023-04-17T05:10:43.894" v="2905" actId="478"/>
          <ac:grpSpMkLst>
            <pc:docMk/>
            <pc:sldMk cId="2330847497" sldId="2141411880"/>
            <ac:grpSpMk id="30" creationId="{739D9B2B-BD78-90AB-5CB9-40170DF34313}"/>
          </ac:grpSpMkLst>
        </pc:grpChg>
        <pc:grpChg chg="add del mod">
          <ac:chgData name="Gasteiger, Cassidy M" userId="49e4247d-81de-4625-ae16-f189e0b7e529" providerId="ADAL" clId="{3FA7B295-9721-4859-B4C7-15ADCB262973}" dt="2023-04-17T05:10:43.894" v="2905" actId="478"/>
          <ac:grpSpMkLst>
            <pc:docMk/>
            <pc:sldMk cId="2330847497" sldId="2141411880"/>
            <ac:grpSpMk id="33" creationId="{A2BAFAC0-491B-61F3-EDB9-F1D80F0D9D01}"/>
          </ac:grpSpMkLst>
        </pc:grpChg>
        <pc:grpChg chg="add del mod">
          <ac:chgData name="Gasteiger, Cassidy M" userId="49e4247d-81de-4625-ae16-f189e0b7e529" providerId="ADAL" clId="{3FA7B295-9721-4859-B4C7-15ADCB262973}" dt="2023-04-17T05:15:47.334" v="3116" actId="478"/>
          <ac:grpSpMkLst>
            <pc:docMk/>
            <pc:sldMk cId="2330847497" sldId="2141411880"/>
            <ac:grpSpMk id="49" creationId="{26DDA77F-0C35-52C9-F7B5-43566B25711B}"/>
          </ac:grpSpMkLst>
        </pc:grpChg>
        <pc:grpChg chg="add del mod">
          <ac:chgData name="Gasteiger, Cassidy M" userId="49e4247d-81de-4625-ae16-f189e0b7e529" providerId="ADAL" clId="{3FA7B295-9721-4859-B4C7-15ADCB262973}" dt="2023-04-17T05:15:08.521" v="3103" actId="478"/>
          <ac:grpSpMkLst>
            <pc:docMk/>
            <pc:sldMk cId="2330847497" sldId="2141411880"/>
            <ac:grpSpMk id="52" creationId="{7283A926-EFBC-C4CD-F893-3E62E5795922}"/>
          </ac:grpSpMkLst>
        </pc:grpChg>
        <pc:grpChg chg="add del mod">
          <ac:chgData name="Gasteiger, Cassidy M" userId="49e4247d-81de-4625-ae16-f189e0b7e529" providerId="ADAL" clId="{3FA7B295-9721-4859-B4C7-15ADCB262973}" dt="2023-04-17T05:12:03.524" v="3072" actId="478"/>
          <ac:grpSpMkLst>
            <pc:docMk/>
            <pc:sldMk cId="2330847497" sldId="2141411880"/>
            <ac:grpSpMk id="57" creationId="{DA056A1A-BF7F-9326-315C-1CAEA3CC10BB}"/>
          </ac:grpSpMkLst>
        </pc:grpChg>
        <pc:grpChg chg="add del mod">
          <ac:chgData name="Gasteiger, Cassidy M" userId="49e4247d-81de-4625-ae16-f189e0b7e529" providerId="ADAL" clId="{3FA7B295-9721-4859-B4C7-15ADCB262973}" dt="2023-04-17T05:12:03.524" v="3072" actId="478"/>
          <ac:grpSpMkLst>
            <pc:docMk/>
            <pc:sldMk cId="2330847497" sldId="2141411880"/>
            <ac:grpSpMk id="60" creationId="{3C94E049-AD65-CCD0-BE2C-B9E0634A8E29}"/>
          </ac:grpSpMkLst>
        </pc:grpChg>
        <pc:grpChg chg="add del mod">
          <ac:chgData name="Gasteiger, Cassidy M" userId="49e4247d-81de-4625-ae16-f189e0b7e529" providerId="ADAL" clId="{3FA7B295-9721-4859-B4C7-15ADCB262973}" dt="2023-04-17T05:12:03.524" v="3072" actId="478"/>
          <ac:grpSpMkLst>
            <pc:docMk/>
            <pc:sldMk cId="2330847497" sldId="2141411880"/>
            <ac:grpSpMk id="63" creationId="{75CEA45D-077C-57C3-25ED-70EED0B1D09E}"/>
          </ac:grpSpMkLst>
        </pc:grpChg>
        <pc:grpChg chg="add del mod">
          <ac:chgData name="Gasteiger, Cassidy M" userId="49e4247d-81de-4625-ae16-f189e0b7e529" providerId="ADAL" clId="{3FA7B295-9721-4859-B4C7-15ADCB262973}" dt="2023-04-17T05:11:54.952" v="3069" actId="478"/>
          <ac:grpSpMkLst>
            <pc:docMk/>
            <pc:sldMk cId="2330847497" sldId="2141411880"/>
            <ac:grpSpMk id="194" creationId="{669C53DD-60F6-3311-6B70-7DC62CCFC995}"/>
          </ac:grpSpMkLst>
        </pc:grpChg>
        <pc:grpChg chg="add del mod">
          <ac:chgData name="Gasteiger, Cassidy M" userId="49e4247d-81de-4625-ae16-f189e0b7e529" providerId="ADAL" clId="{3FA7B295-9721-4859-B4C7-15ADCB262973}" dt="2023-04-17T05:12:03.524" v="3072" actId="478"/>
          <ac:grpSpMkLst>
            <pc:docMk/>
            <pc:sldMk cId="2330847497" sldId="2141411880"/>
            <ac:grpSpMk id="197" creationId="{D60D13FD-D3CE-47EA-4409-AC9F60077C22}"/>
          </ac:grpSpMkLst>
        </pc:grpChg>
        <pc:grpChg chg="add del mod">
          <ac:chgData name="Gasteiger, Cassidy M" userId="49e4247d-81de-4625-ae16-f189e0b7e529" providerId="ADAL" clId="{3FA7B295-9721-4859-B4C7-15ADCB262973}" dt="2023-04-17T05:12:03.524" v="3072" actId="478"/>
          <ac:grpSpMkLst>
            <pc:docMk/>
            <pc:sldMk cId="2330847497" sldId="2141411880"/>
            <ac:grpSpMk id="200" creationId="{00FE45AD-3BDA-01DC-804E-59FC3A7D1F10}"/>
          </ac:grpSpMkLst>
        </pc:grpChg>
        <pc:grpChg chg="add del mod">
          <ac:chgData name="Gasteiger, Cassidy M" userId="49e4247d-81de-4625-ae16-f189e0b7e529" providerId="ADAL" clId="{3FA7B295-9721-4859-B4C7-15ADCB262973}" dt="2023-04-17T05:11:56.230" v="3070" actId="478"/>
          <ac:grpSpMkLst>
            <pc:docMk/>
            <pc:sldMk cId="2330847497" sldId="2141411880"/>
            <ac:grpSpMk id="203" creationId="{9FE7C726-42FA-F159-6FE9-2DD36D4FB01A}"/>
          </ac:grpSpMkLst>
        </pc:grpChg>
        <pc:grpChg chg="add del mod">
          <ac:chgData name="Gasteiger, Cassidy M" userId="49e4247d-81de-4625-ae16-f189e0b7e529" providerId="ADAL" clId="{3FA7B295-9721-4859-B4C7-15ADCB262973}" dt="2023-04-17T05:12:05.301" v="3073" actId="478"/>
          <ac:grpSpMkLst>
            <pc:docMk/>
            <pc:sldMk cId="2330847497" sldId="2141411880"/>
            <ac:grpSpMk id="206" creationId="{C530B4F9-26F9-CA7D-96E8-7918F4B9F426}"/>
          </ac:grpSpMkLst>
        </pc:grpChg>
        <pc:grpChg chg="add del mod">
          <ac:chgData name="Gasteiger, Cassidy M" userId="49e4247d-81de-4625-ae16-f189e0b7e529" providerId="ADAL" clId="{3FA7B295-9721-4859-B4C7-15ADCB262973}" dt="2023-04-17T05:12:05.301" v="3073" actId="478"/>
          <ac:grpSpMkLst>
            <pc:docMk/>
            <pc:sldMk cId="2330847497" sldId="2141411880"/>
            <ac:grpSpMk id="209" creationId="{5B111684-D3EC-9B46-380F-83AD9C58B07A}"/>
          </ac:grpSpMkLst>
        </pc:grpChg>
        <pc:grpChg chg="add del mod">
          <ac:chgData name="Gasteiger, Cassidy M" userId="49e4247d-81de-4625-ae16-f189e0b7e529" providerId="ADAL" clId="{3FA7B295-9721-4859-B4C7-15ADCB262973}" dt="2023-04-17T05:12:05.301" v="3073" actId="478"/>
          <ac:grpSpMkLst>
            <pc:docMk/>
            <pc:sldMk cId="2330847497" sldId="2141411880"/>
            <ac:grpSpMk id="212" creationId="{EA8648BD-CE6A-9332-36B8-78834EB73241}"/>
          </ac:grpSpMkLst>
        </pc:grpChg>
        <pc:grpChg chg="add del mod">
          <ac:chgData name="Gasteiger, Cassidy M" userId="49e4247d-81de-4625-ae16-f189e0b7e529" providerId="ADAL" clId="{3FA7B295-9721-4859-B4C7-15ADCB262973}" dt="2023-04-17T05:13:31.924" v="3097" actId="478"/>
          <ac:grpSpMkLst>
            <pc:docMk/>
            <pc:sldMk cId="2330847497" sldId="2141411880"/>
            <ac:grpSpMk id="215" creationId="{963650B7-D141-0870-2609-AA58FC6D4B42}"/>
          </ac:grpSpMkLst>
        </pc:grpChg>
        <pc:grpChg chg="add del mod">
          <ac:chgData name="Gasteiger, Cassidy M" userId="49e4247d-81de-4625-ae16-f189e0b7e529" providerId="ADAL" clId="{3FA7B295-9721-4859-B4C7-15ADCB262973}" dt="2023-04-17T05:12:05.301" v="3073" actId="478"/>
          <ac:grpSpMkLst>
            <pc:docMk/>
            <pc:sldMk cId="2330847497" sldId="2141411880"/>
            <ac:grpSpMk id="218" creationId="{6CB70E36-EE4C-C865-5F47-77D46D9FADAC}"/>
          </ac:grpSpMkLst>
        </pc:grpChg>
        <pc:grpChg chg="add del mod">
          <ac:chgData name="Gasteiger, Cassidy M" userId="49e4247d-81de-4625-ae16-f189e0b7e529" providerId="ADAL" clId="{3FA7B295-9721-4859-B4C7-15ADCB262973}" dt="2023-04-17T05:11:33.150" v="3060" actId="478"/>
          <ac:grpSpMkLst>
            <pc:docMk/>
            <pc:sldMk cId="2330847497" sldId="2141411880"/>
            <ac:grpSpMk id="223" creationId="{A0097244-BA60-A6B6-B2BE-7F07620B4354}"/>
          </ac:grpSpMkLst>
        </pc:grpChg>
        <pc:grpChg chg="add del mod">
          <ac:chgData name="Gasteiger, Cassidy M" userId="49e4247d-81de-4625-ae16-f189e0b7e529" providerId="ADAL" clId="{3FA7B295-9721-4859-B4C7-15ADCB262973}" dt="2023-04-17T05:11:40.249" v="3062" actId="478"/>
          <ac:grpSpMkLst>
            <pc:docMk/>
            <pc:sldMk cId="2330847497" sldId="2141411880"/>
            <ac:grpSpMk id="226" creationId="{7914A134-96A4-F85E-77D1-38FAF4A16ADB}"/>
          </ac:grpSpMkLst>
        </pc:grpChg>
        <pc:grpChg chg="add del mod">
          <ac:chgData name="Gasteiger, Cassidy M" userId="49e4247d-81de-4625-ae16-f189e0b7e529" providerId="ADAL" clId="{3FA7B295-9721-4859-B4C7-15ADCB262973}" dt="2023-04-17T05:11:44.711" v="3064" actId="478"/>
          <ac:grpSpMkLst>
            <pc:docMk/>
            <pc:sldMk cId="2330847497" sldId="2141411880"/>
            <ac:grpSpMk id="229" creationId="{500A4BA9-07EB-2CC9-506A-D1674D086210}"/>
          </ac:grpSpMkLst>
        </pc:grpChg>
        <pc:grpChg chg="add del mod">
          <ac:chgData name="Gasteiger, Cassidy M" userId="49e4247d-81de-4625-ae16-f189e0b7e529" providerId="ADAL" clId="{3FA7B295-9721-4859-B4C7-15ADCB262973}" dt="2023-04-17T05:11:44.711" v="3064" actId="478"/>
          <ac:grpSpMkLst>
            <pc:docMk/>
            <pc:sldMk cId="2330847497" sldId="2141411880"/>
            <ac:grpSpMk id="232" creationId="{6D3B8F52-C533-0AA7-27B3-37B71D4C91A5}"/>
          </ac:grpSpMkLst>
        </pc:grpChg>
        <pc:grpChg chg="add del mod">
          <ac:chgData name="Gasteiger, Cassidy M" userId="49e4247d-81de-4625-ae16-f189e0b7e529" providerId="ADAL" clId="{3FA7B295-9721-4859-B4C7-15ADCB262973}" dt="2023-04-17T05:11:44.711" v="3064" actId="478"/>
          <ac:grpSpMkLst>
            <pc:docMk/>
            <pc:sldMk cId="2330847497" sldId="2141411880"/>
            <ac:grpSpMk id="236" creationId="{8130982D-DCDD-52DD-8C6C-E9B4F26BADE3}"/>
          </ac:grpSpMkLst>
        </pc:grpChg>
        <pc:grpChg chg="add del mod">
          <ac:chgData name="Gasteiger, Cassidy M" userId="49e4247d-81de-4625-ae16-f189e0b7e529" providerId="ADAL" clId="{3FA7B295-9721-4859-B4C7-15ADCB262973}" dt="2023-04-17T05:11:44.711" v="3064" actId="478"/>
          <ac:grpSpMkLst>
            <pc:docMk/>
            <pc:sldMk cId="2330847497" sldId="2141411880"/>
            <ac:grpSpMk id="239" creationId="{9AC477E6-BF6B-D6D6-1FED-C5D949116F37}"/>
          </ac:grpSpMkLst>
        </pc:grpChg>
        <pc:grpChg chg="add del mod">
          <ac:chgData name="Gasteiger, Cassidy M" userId="49e4247d-81de-4625-ae16-f189e0b7e529" providerId="ADAL" clId="{3FA7B295-9721-4859-B4C7-15ADCB262973}" dt="2023-04-17T05:11:44.711" v="3064" actId="478"/>
          <ac:grpSpMkLst>
            <pc:docMk/>
            <pc:sldMk cId="2330847497" sldId="2141411880"/>
            <ac:grpSpMk id="242" creationId="{EF4A522F-ACBA-A65D-7D9F-79AA3CF2570E}"/>
          </ac:grpSpMkLst>
        </pc:grpChg>
        <pc:grpChg chg="add del mod">
          <ac:chgData name="Gasteiger, Cassidy M" userId="49e4247d-81de-4625-ae16-f189e0b7e529" providerId="ADAL" clId="{3FA7B295-9721-4859-B4C7-15ADCB262973}" dt="2023-04-17T05:13:31.924" v="3097" actId="478"/>
          <ac:grpSpMkLst>
            <pc:docMk/>
            <pc:sldMk cId="2330847497" sldId="2141411880"/>
            <ac:grpSpMk id="245" creationId="{3499BCDC-0202-2F93-2F1A-7604BD17E229}"/>
          </ac:grpSpMkLst>
        </pc:grpChg>
        <pc:grpChg chg="add del mod">
          <ac:chgData name="Gasteiger, Cassidy M" userId="49e4247d-81de-4625-ae16-f189e0b7e529" providerId="ADAL" clId="{3FA7B295-9721-4859-B4C7-15ADCB262973}" dt="2023-04-17T05:11:44.711" v="3064" actId="478"/>
          <ac:grpSpMkLst>
            <pc:docMk/>
            <pc:sldMk cId="2330847497" sldId="2141411880"/>
            <ac:grpSpMk id="248" creationId="{EBECE2B8-C5D5-5E10-EAF5-670969947BDE}"/>
          </ac:grpSpMkLst>
        </pc:grpChg>
        <pc:grpChg chg="add del mod">
          <ac:chgData name="Gasteiger, Cassidy M" userId="49e4247d-81de-4625-ae16-f189e0b7e529" providerId="ADAL" clId="{3FA7B295-9721-4859-B4C7-15ADCB262973}" dt="2023-04-17T05:11:44.711" v="3064" actId="478"/>
          <ac:grpSpMkLst>
            <pc:docMk/>
            <pc:sldMk cId="2330847497" sldId="2141411880"/>
            <ac:grpSpMk id="251" creationId="{05942445-5BDA-E58E-1D88-FC1D5CD22615}"/>
          </ac:grpSpMkLst>
        </pc:grpChg>
        <pc:grpChg chg="add del mod">
          <ac:chgData name="Gasteiger, Cassidy M" userId="49e4247d-81de-4625-ae16-f189e0b7e529" providerId="ADAL" clId="{3FA7B295-9721-4859-B4C7-15ADCB262973}" dt="2023-04-17T05:11:44.711" v="3064" actId="478"/>
          <ac:grpSpMkLst>
            <pc:docMk/>
            <pc:sldMk cId="2330847497" sldId="2141411880"/>
            <ac:grpSpMk id="254" creationId="{6BEFC314-E1C7-FC28-F70D-1954E2173523}"/>
          </ac:grpSpMkLst>
        </pc:grpChg>
        <pc:grpChg chg="add del mod">
          <ac:chgData name="Gasteiger, Cassidy M" userId="49e4247d-81de-4625-ae16-f189e0b7e529" providerId="ADAL" clId="{3FA7B295-9721-4859-B4C7-15ADCB262973}" dt="2023-04-17T05:11:41.930" v="3063" actId="478"/>
          <ac:grpSpMkLst>
            <pc:docMk/>
            <pc:sldMk cId="2330847497" sldId="2141411880"/>
            <ac:grpSpMk id="257" creationId="{BCA42076-C6DB-74F0-C886-19791F5D1613}"/>
          </ac:grpSpMkLst>
        </pc:grpChg>
        <pc:grpChg chg="add del mod">
          <ac:chgData name="Gasteiger, Cassidy M" userId="49e4247d-81de-4625-ae16-f189e0b7e529" providerId="ADAL" clId="{3FA7B295-9721-4859-B4C7-15ADCB262973}" dt="2023-04-17T05:11:34.342" v="3061" actId="478"/>
          <ac:grpSpMkLst>
            <pc:docMk/>
            <pc:sldMk cId="2330847497" sldId="2141411880"/>
            <ac:grpSpMk id="260" creationId="{839981BB-0C31-EED3-325C-A2CF22A70602}"/>
          </ac:grpSpMkLst>
        </pc:grpChg>
        <pc:grpChg chg="add del mod">
          <ac:chgData name="Gasteiger, Cassidy M" userId="49e4247d-81de-4625-ae16-f189e0b7e529" providerId="ADAL" clId="{3FA7B295-9721-4859-B4C7-15ADCB262973}" dt="2023-04-17T05:11:44.711" v="3064" actId="478"/>
          <ac:grpSpMkLst>
            <pc:docMk/>
            <pc:sldMk cId="2330847497" sldId="2141411880"/>
            <ac:grpSpMk id="263" creationId="{F3BE478C-4FBA-29D9-40CB-DFEDC1A78021}"/>
          </ac:grpSpMkLst>
        </pc:grpChg>
        <pc:grpChg chg="add del mod">
          <ac:chgData name="Gasteiger, Cassidy M" userId="49e4247d-81de-4625-ae16-f189e0b7e529" providerId="ADAL" clId="{3FA7B295-9721-4859-B4C7-15ADCB262973}" dt="2023-04-17T05:11:44.711" v="3064" actId="478"/>
          <ac:grpSpMkLst>
            <pc:docMk/>
            <pc:sldMk cId="2330847497" sldId="2141411880"/>
            <ac:grpSpMk id="266" creationId="{22C7FF67-0481-16F8-1D58-C554CA417C09}"/>
          </ac:grpSpMkLst>
        </pc:grpChg>
        <pc:grpChg chg="add del mod">
          <ac:chgData name="Gasteiger, Cassidy M" userId="49e4247d-81de-4625-ae16-f189e0b7e529" providerId="ADAL" clId="{3FA7B295-9721-4859-B4C7-15ADCB262973}" dt="2023-04-17T05:11:44.711" v="3064" actId="478"/>
          <ac:grpSpMkLst>
            <pc:docMk/>
            <pc:sldMk cId="2330847497" sldId="2141411880"/>
            <ac:grpSpMk id="269" creationId="{BC2E144E-1101-F5E3-196A-C6656829C9A2}"/>
          </ac:grpSpMkLst>
        </pc:grpChg>
        <pc:grpChg chg="add del mod">
          <ac:chgData name="Gasteiger, Cassidy M" userId="49e4247d-81de-4625-ae16-f189e0b7e529" providerId="ADAL" clId="{3FA7B295-9721-4859-B4C7-15ADCB262973}" dt="2023-04-17T05:11:44.711" v="3064" actId="478"/>
          <ac:grpSpMkLst>
            <pc:docMk/>
            <pc:sldMk cId="2330847497" sldId="2141411880"/>
            <ac:grpSpMk id="272" creationId="{0E5944F2-91FF-0C51-5FE1-694669BC120B}"/>
          </ac:grpSpMkLst>
        </pc:grpChg>
        <pc:grpChg chg="add mod">
          <ac:chgData name="Gasteiger, Cassidy M" userId="49e4247d-81de-4625-ae16-f189e0b7e529" providerId="ADAL" clId="{3FA7B295-9721-4859-B4C7-15ADCB262973}" dt="2023-04-17T06:06:50.313" v="3271" actId="164"/>
          <ac:grpSpMkLst>
            <pc:docMk/>
            <pc:sldMk cId="2330847497" sldId="2141411880"/>
            <ac:grpSpMk id="281" creationId="{973BAAB0-8C7D-8D84-584C-CCC3F11CFD08}"/>
          </ac:grpSpMkLst>
        </pc:grpChg>
        <pc:grpChg chg="add mod">
          <ac:chgData name="Gasteiger, Cassidy M" userId="49e4247d-81de-4625-ae16-f189e0b7e529" providerId="ADAL" clId="{3FA7B295-9721-4859-B4C7-15ADCB262973}" dt="2023-04-17T06:06:50.313" v="3271" actId="164"/>
          <ac:grpSpMkLst>
            <pc:docMk/>
            <pc:sldMk cId="2330847497" sldId="2141411880"/>
            <ac:grpSpMk id="285" creationId="{E1D822EB-EA04-9BE3-7893-DE64DE38018F}"/>
          </ac:grpSpMkLst>
        </pc:grpChg>
        <pc:grpChg chg="add mod">
          <ac:chgData name="Gasteiger, Cassidy M" userId="49e4247d-81de-4625-ae16-f189e0b7e529" providerId="ADAL" clId="{3FA7B295-9721-4859-B4C7-15ADCB262973}" dt="2023-04-17T06:06:50.313" v="3271" actId="164"/>
          <ac:grpSpMkLst>
            <pc:docMk/>
            <pc:sldMk cId="2330847497" sldId="2141411880"/>
            <ac:grpSpMk id="288" creationId="{1363B6A6-A880-175D-0C6F-1587A508F13A}"/>
          </ac:grpSpMkLst>
        </pc:grpChg>
        <pc:grpChg chg="add mod">
          <ac:chgData name="Gasteiger, Cassidy M" userId="49e4247d-81de-4625-ae16-f189e0b7e529" providerId="ADAL" clId="{3FA7B295-9721-4859-B4C7-15ADCB262973}" dt="2023-04-17T06:06:50.313" v="3271" actId="164"/>
          <ac:grpSpMkLst>
            <pc:docMk/>
            <pc:sldMk cId="2330847497" sldId="2141411880"/>
            <ac:grpSpMk id="294" creationId="{3635DC11-D106-007C-4093-4439EDC1CF3D}"/>
          </ac:grpSpMkLst>
        </pc:grpChg>
        <pc:grpChg chg="add mod">
          <ac:chgData name="Gasteiger, Cassidy M" userId="49e4247d-81de-4625-ae16-f189e0b7e529" providerId="ADAL" clId="{3FA7B295-9721-4859-B4C7-15ADCB262973}" dt="2023-04-17T06:06:50.313" v="3271" actId="164"/>
          <ac:grpSpMkLst>
            <pc:docMk/>
            <pc:sldMk cId="2330847497" sldId="2141411880"/>
            <ac:grpSpMk id="299" creationId="{649C8210-F824-11D9-65D0-138153B0458A}"/>
          </ac:grpSpMkLst>
        </pc:grpChg>
        <pc:grpChg chg="add mod">
          <ac:chgData name="Gasteiger, Cassidy M" userId="49e4247d-81de-4625-ae16-f189e0b7e529" providerId="ADAL" clId="{3FA7B295-9721-4859-B4C7-15ADCB262973}" dt="2023-04-17T06:06:50.313" v="3271" actId="164"/>
          <ac:grpSpMkLst>
            <pc:docMk/>
            <pc:sldMk cId="2330847497" sldId="2141411880"/>
            <ac:grpSpMk id="302" creationId="{93B0E660-F13B-E717-7507-94C17D143716}"/>
          </ac:grpSpMkLst>
        </pc:grpChg>
        <pc:grpChg chg="add mod">
          <ac:chgData name="Gasteiger, Cassidy M" userId="49e4247d-81de-4625-ae16-f189e0b7e529" providerId="ADAL" clId="{3FA7B295-9721-4859-B4C7-15ADCB262973}" dt="2023-04-17T06:26:20.403" v="3479" actId="1076"/>
          <ac:grpSpMkLst>
            <pc:docMk/>
            <pc:sldMk cId="2330847497" sldId="2141411880"/>
            <ac:grpSpMk id="305" creationId="{BB29FB33-1053-05CD-0FA9-D7134C2D8D25}"/>
          </ac:grpSpMkLst>
        </pc:grpChg>
        <pc:grpChg chg="add mod">
          <ac:chgData name="Gasteiger, Cassidy M" userId="49e4247d-81de-4625-ae16-f189e0b7e529" providerId="ADAL" clId="{3FA7B295-9721-4859-B4C7-15ADCB262973}" dt="2023-04-17T06:25:48.213" v="3474" actId="164"/>
          <ac:grpSpMkLst>
            <pc:docMk/>
            <pc:sldMk cId="2330847497" sldId="2141411880"/>
            <ac:grpSpMk id="314" creationId="{6BAC3242-1D17-1167-9524-9ED93933326D}"/>
          </ac:grpSpMkLst>
        </pc:grpChg>
        <pc:grpChg chg="add mod">
          <ac:chgData name="Gasteiger, Cassidy M" userId="49e4247d-81de-4625-ae16-f189e0b7e529" providerId="ADAL" clId="{3FA7B295-9721-4859-B4C7-15ADCB262973}" dt="2023-04-17T06:25:53.324" v="3475" actId="164"/>
          <ac:grpSpMkLst>
            <pc:docMk/>
            <pc:sldMk cId="2330847497" sldId="2141411880"/>
            <ac:grpSpMk id="315" creationId="{D3B1C93F-1E7D-97CC-2D7E-1A330742E771}"/>
          </ac:grpSpMkLst>
        </pc:grpChg>
        <pc:grpChg chg="add mod">
          <ac:chgData name="Gasteiger, Cassidy M" userId="49e4247d-81de-4625-ae16-f189e0b7e529" providerId="ADAL" clId="{3FA7B295-9721-4859-B4C7-15ADCB262973}" dt="2023-04-17T06:25:58.151" v="3476" actId="164"/>
          <ac:grpSpMkLst>
            <pc:docMk/>
            <pc:sldMk cId="2330847497" sldId="2141411880"/>
            <ac:grpSpMk id="318" creationId="{EC835289-11A6-CB36-B4E6-A87586856E2C}"/>
          </ac:grpSpMkLst>
        </pc:grpChg>
        <pc:grpChg chg="add mod">
          <ac:chgData name="Gasteiger, Cassidy M" userId="49e4247d-81de-4625-ae16-f189e0b7e529" providerId="ADAL" clId="{3FA7B295-9721-4859-B4C7-15ADCB262973}" dt="2023-04-17T06:26:39.611" v="3487" actId="1076"/>
          <ac:grpSpMkLst>
            <pc:docMk/>
            <pc:sldMk cId="2330847497" sldId="2141411880"/>
            <ac:grpSpMk id="325" creationId="{0590AA4B-1AA0-9F26-B6AA-C3D97A862359}"/>
          </ac:grpSpMkLst>
        </pc:grpChg>
        <pc:grpChg chg="add mod">
          <ac:chgData name="Gasteiger, Cassidy M" userId="49e4247d-81de-4625-ae16-f189e0b7e529" providerId="ADAL" clId="{3FA7B295-9721-4859-B4C7-15ADCB262973}" dt="2023-04-17T06:26:11.085" v="3477" actId="1076"/>
          <ac:grpSpMkLst>
            <pc:docMk/>
            <pc:sldMk cId="2330847497" sldId="2141411880"/>
            <ac:grpSpMk id="326" creationId="{66C7B744-E904-01C8-8A09-A0BC0E26113B}"/>
          </ac:grpSpMkLst>
        </pc:grpChg>
        <pc:grpChg chg="add mod">
          <ac:chgData name="Gasteiger, Cassidy M" userId="49e4247d-81de-4625-ae16-f189e0b7e529" providerId="ADAL" clId="{3FA7B295-9721-4859-B4C7-15ADCB262973}" dt="2023-04-17T06:26:15.854" v="3478" actId="1076"/>
          <ac:grpSpMkLst>
            <pc:docMk/>
            <pc:sldMk cId="2330847497" sldId="2141411880"/>
            <ac:grpSpMk id="327" creationId="{34D43A3A-0294-B624-24C7-D524D61A893C}"/>
          </ac:grpSpMkLst>
        </pc:grpChg>
        <pc:graphicFrameChg chg="add del mod modGraphic">
          <ac:chgData name="Gasteiger, Cassidy M" userId="49e4247d-81de-4625-ae16-f189e0b7e529" providerId="ADAL" clId="{3FA7B295-9721-4859-B4C7-15ADCB262973}" dt="2023-04-17T05:13:18.830" v="3089" actId="478"/>
          <ac:graphicFrameMkLst>
            <pc:docMk/>
            <pc:sldMk cId="2330847497" sldId="2141411880"/>
            <ac:graphicFrameMk id="2" creationId="{273A3E74-5321-7599-484E-DF25161564F7}"/>
          </ac:graphicFrameMkLst>
        </pc:graphicFrameChg>
        <pc:graphicFrameChg chg="del">
          <ac:chgData name="Gasteiger, Cassidy M" userId="49e4247d-81de-4625-ae16-f189e0b7e529" providerId="ADAL" clId="{3FA7B295-9721-4859-B4C7-15ADCB262973}" dt="2023-04-17T02:49:16.905" v="716" actId="478"/>
          <ac:graphicFrameMkLst>
            <pc:docMk/>
            <pc:sldMk cId="2330847497" sldId="2141411880"/>
            <ac:graphicFrameMk id="10" creationId="{E2357BCA-829C-0B08-3E06-250E29AC8D5F}"/>
          </ac:graphicFrameMkLst>
        </pc:graphicFrameChg>
        <pc:graphicFrameChg chg="add mod modGraphic">
          <ac:chgData name="Gasteiger, Cassidy M" userId="49e4247d-81de-4625-ae16-f189e0b7e529" providerId="ADAL" clId="{3FA7B295-9721-4859-B4C7-15ADCB262973}" dt="2023-04-17T06:20:59.735" v="3393" actId="2711"/>
          <ac:graphicFrameMkLst>
            <pc:docMk/>
            <pc:sldMk cId="2330847497" sldId="2141411880"/>
            <ac:graphicFrameMk id="18" creationId="{F0024525-ED60-4CDB-2C1B-1408E05B3955}"/>
          </ac:graphicFrameMkLst>
        </pc:graphicFrameChg>
        <pc:picChg chg="del mod">
          <ac:chgData name="Gasteiger, Cassidy M" userId="49e4247d-81de-4625-ae16-f189e0b7e529" providerId="ADAL" clId="{3FA7B295-9721-4859-B4C7-15ADCB262973}" dt="2023-04-17T06:04:17.042" v="3168" actId="478"/>
          <ac:picMkLst>
            <pc:docMk/>
            <pc:sldMk cId="2330847497" sldId="2141411880"/>
            <ac:picMk id="2" creationId="{8ADB22D9-3913-A8B3-04FD-3CF809AD1C6E}"/>
          </ac:picMkLst>
        </pc:picChg>
        <pc:picChg chg="add mod">
          <ac:chgData name="Gasteiger, Cassidy M" userId="49e4247d-81de-4625-ae16-f189e0b7e529" providerId="ADAL" clId="{3FA7B295-9721-4859-B4C7-15ADCB262973}" dt="2023-04-17T06:06:50.313" v="3271" actId="164"/>
          <ac:picMkLst>
            <pc:docMk/>
            <pc:sldMk cId="2330847497" sldId="2141411880"/>
            <ac:picMk id="5" creationId="{272D926F-8E6C-DB53-E834-22CC1E3A747D}"/>
          </ac:picMkLst>
        </pc:picChg>
        <pc:picChg chg="add del mod">
          <ac:chgData name="Gasteiger, Cassidy M" userId="49e4247d-81de-4625-ae16-f189e0b7e529" providerId="ADAL" clId="{3FA7B295-9721-4859-B4C7-15ADCB262973}" dt="2023-04-17T05:13:25.410" v="3094" actId="478"/>
          <ac:picMkLst>
            <pc:docMk/>
            <pc:sldMk cId="2330847497" sldId="2141411880"/>
            <ac:picMk id="6" creationId="{51EB6BA5-52E9-CB75-D9BB-DB7AE3BF4DB6}"/>
          </ac:picMkLst>
        </pc:picChg>
        <pc:picChg chg="add del mod">
          <ac:chgData name="Gasteiger, Cassidy M" userId="49e4247d-81de-4625-ae16-f189e0b7e529" providerId="ADAL" clId="{3FA7B295-9721-4859-B4C7-15ADCB262973}" dt="2023-04-17T05:13:26.675" v="3095" actId="478"/>
          <ac:picMkLst>
            <pc:docMk/>
            <pc:sldMk cId="2330847497" sldId="2141411880"/>
            <ac:picMk id="7" creationId="{AA837268-02EE-E22F-4CE1-7A564F217876}"/>
          </ac:picMkLst>
        </pc:picChg>
        <pc:picChg chg="add del mod">
          <ac:chgData name="Gasteiger, Cassidy M" userId="49e4247d-81de-4625-ae16-f189e0b7e529" providerId="ADAL" clId="{3FA7B295-9721-4859-B4C7-15ADCB262973}" dt="2023-04-17T05:13:24.207" v="3093" actId="478"/>
          <ac:picMkLst>
            <pc:docMk/>
            <pc:sldMk cId="2330847497" sldId="2141411880"/>
            <ac:picMk id="8" creationId="{31EACACA-4B35-AE99-33A6-3BE97A84CBC5}"/>
          </ac:picMkLst>
        </pc:picChg>
        <pc:picChg chg="add del mod">
          <ac:chgData name="Gasteiger, Cassidy M" userId="49e4247d-81de-4625-ae16-f189e0b7e529" providerId="ADAL" clId="{3FA7B295-9721-4859-B4C7-15ADCB262973}" dt="2023-04-17T05:13:19.941" v="3090" actId="478"/>
          <ac:picMkLst>
            <pc:docMk/>
            <pc:sldMk cId="2330847497" sldId="2141411880"/>
            <ac:picMk id="9" creationId="{46E08892-1F74-0898-505D-781FE384535A}"/>
          </ac:picMkLst>
        </pc:picChg>
        <pc:picChg chg="add del mod">
          <ac:chgData name="Gasteiger, Cassidy M" userId="49e4247d-81de-4625-ae16-f189e0b7e529" providerId="ADAL" clId="{3FA7B295-9721-4859-B4C7-15ADCB262973}" dt="2023-04-17T05:13:22.372" v="3091" actId="478"/>
          <ac:picMkLst>
            <pc:docMk/>
            <pc:sldMk cId="2330847497" sldId="2141411880"/>
            <ac:picMk id="13" creationId="{85505097-4AF3-C4DB-4C62-0B3A99EEFBB1}"/>
          </ac:picMkLst>
        </pc:picChg>
        <pc:picChg chg="del">
          <ac:chgData name="Gasteiger, Cassidy M" userId="49e4247d-81de-4625-ae16-f189e0b7e529" providerId="ADAL" clId="{3FA7B295-9721-4859-B4C7-15ADCB262973}" dt="2023-04-17T02:48:59.202" v="672" actId="478"/>
          <ac:picMkLst>
            <pc:docMk/>
            <pc:sldMk cId="2330847497" sldId="2141411880"/>
            <ac:picMk id="15" creationId="{521AC29E-A842-992C-D690-6B75A71F23E6}"/>
          </ac:picMkLst>
        </pc:picChg>
        <pc:picChg chg="del">
          <ac:chgData name="Gasteiger, Cassidy M" userId="49e4247d-81de-4625-ae16-f189e0b7e529" providerId="ADAL" clId="{3FA7B295-9721-4859-B4C7-15ADCB262973}" dt="2023-04-17T02:49:00.457" v="673" actId="478"/>
          <ac:picMkLst>
            <pc:docMk/>
            <pc:sldMk cId="2330847497" sldId="2141411880"/>
            <ac:picMk id="16" creationId="{E01BB813-784C-C2D3-1B04-71E016015A3C}"/>
          </ac:picMkLst>
        </pc:picChg>
        <pc:picChg chg="add del mod">
          <ac:chgData name="Gasteiger, Cassidy M" userId="49e4247d-81de-4625-ae16-f189e0b7e529" providerId="ADAL" clId="{3FA7B295-9721-4859-B4C7-15ADCB262973}" dt="2023-04-17T05:13:23.333" v="3092" actId="478"/>
          <ac:picMkLst>
            <pc:docMk/>
            <pc:sldMk cId="2330847497" sldId="2141411880"/>
            <ac:picMk id="17" creationId="{52D8F5D4-7179-3181-8757-58F24CBA42AA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1" creationId="{A0CFE5E1-BA5D-5670-4378-2BDC802A9FF6}"/>
          </ac:picMkLst>
        </pc:picChg>
        <pc:picChg chg="add del mod">
          <ac:chgData name="Gasteiger, Cassidy M" userId="49e4247d-81de-4625-ae16-f189e0b7e529" providerId="ADAL" clId="{3FA7B295-9721-4859-B4C7-15ADCB262973}" dt="2023-04-17T05:11:50.056" v="3068" actId="478"/>
          <ac:picMkLst>
            <pc:docMk/>
            <pc:sldMk cId="2330847497" sldId="2141411880"/>
            <ac:picMk id="221" creationId="{C95D97F5-FAC4-CA63-8423-933D75EEB97B}"/>
          </ac:picMkLst>
        </pc:picChg>
        <pc:picChg chg="add del mod">
          <ac:chgData name="Gasteiger, Cassidy M" userId="49e4247d-81de-4625-ae16-f189e0b7e529" providerId="ADAL" clId="{3FA7B295-9721-4859-B4C7-15ADCB262973}" dt="2023-04-17T05:11:46.018" v="3065" actId="478"/>
          <ac:picMkLst>
            <pc:docMk/>
            <pc:sldMk cId="2330847497" sldId="2141411880"/>
            <ac:picMk id="222" creationId="{B612307C-63D8-DA5C-1F55-53CC684BA959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25" creationId="{463A7AB4-9B57-AB81-2242-052DF8FD5B62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28" creationId="{AED8D77A-17A0-23EC-DB1D-F4BA58066A15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31" creationId="{F294E97F-002E-95F7-42BF-79F207A06391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34" creationId="{51F85638-A177-757D-A0E5-53DBB8597D2E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38" creationId="{DAB5AA86-B4B3-AF2A-3153-93DF5FC76E4F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41" creationId="{C9EA968D-EC53-E59A-7E1E-4C4C07DA2BE3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44" creationId="{66936623-6BC6-7C7C-D00B-AFA56D78B548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47" creationId="{0E770249-7B50-7F49-22C2-F136A0B414D6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50" creationId="{1590439B-B6EC-CF9F-ABEF-EC28B291A8EE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53" creationId="{4B69FED0-8524-0747-42B7-77EFE7F994D0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56" creationId="{4E0AAF7F-C646-C0CB-3BED-44EB3072D7BC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59" creationId="{3CBA19F1-D9AD-1E68-98F1-1C5F4EF16E9C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62" creationId="{795569D2-CCC0-0E15-F274-CA7A33ABD8F2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65" creationId="{DB0D520B-7754-EE97-75BD-41786CA52759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68" creationId="{1313F40E-0256-49D0-E82D-B16BFDBB18E0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71" creationId="{C46A63EC-3BAE-7223-1BE3-83A34E2C7C70}"/>
          </ac:picMkLst>
        </pc:picChg>
        <pc:picChg chg="mod">
          <ac:chgData name="Gasteiger, Cassidy M" userId="49e4247d-81de-4625-ae16-f189e0b7e529" providerId="ADAL" clId="{3FA7B295-9721-4859-B4C7-15ADCB262973}" dt="2023-04-17T05:09:55.968" v="2893"/>
          <ac:picMkLst>
            <pc:docMk/>
            <pc:sldMk cId="2330847497" sldId="2141411880"/>
            <ac:picMk id="274" creationId="{B6B7DD03-87A3-2ECF-098F-63F5A3F0CF97}"/>
          </ac:picMkLst>
        </pc:picChg>
        <pc:picChg chg="add mod">
          <ac:chgData name="Gasteiger, Cassidy M" userId="49e4247d-81de-4625-ae16-f189e0b7e529" providerId="ADAL" clId="{3FA7B295-9721-4859-B4C7-15ADCB262973}" dt="2023-04-17T06:26:11.085" v="3477" actId="1076"/>
          <ac:picMkLst>
            <pc:docMk/>
            <pc:sldMk cId="2330847497" sldId="2141411880"/>
            <ac:picMk id="308" creationId="{3F846FA8-85C1-AB5A-7892-7E0E7ED17B7F}"/>
          </ac:picMkLst>
        </pc:picChg>
        <pc:picChg chg="add del mod">
          <ac:chgData name="Gasteiger, Cassidy M" userId="49e4247d-81de-4625-ae16-f189e0b7e529" providerId="ADAL" clId="{3FA7B295-9721-4859-B4C7-15ADCB262973}" dt="2023-04-17T06:18:27.591" v="3342" actId="478"/>
          <ac:picMkLst>
            <pc:docMk/>
            <pc:sldMk cId="2330847497" sldId="2141411880"/>
            <ac:picMk id="310" creationId="{EF3D9D69-19B4-B782-92F6-C903D6761131}"/>
          </ac:picMkLst>
        </pc:picChg>
        <pc:picChg chg="add mod">
          <ac:chgData name="Gasteiger, Cassidy M" userId="49e4247d-81de-4625-ae16-f189e0b7e529" providerId="ADAL" clId="{3FA7B295-9721-4859-B4C7-15ADCB262973}" dt="2023-04-17T06:26:15.854" v="3478" actId="1076"/>
          <ac:picMkLst>
            <pc:docMk/>
            <pc:sldMk cId="2330847497" sldId="2141411880"/>
            <ac:picMk id="323" creationId="{FB80E95B-9089-00F6-C3DB-AD4B7DA5485C}"/>
          </ac:picMkLst>
        </pc:picChg>
      </pc:sldChg>
      <pc:sldChg chg="add del">
        <pc:chgData name="Gasteiger, Cassidy M" userId="49e4247d-81de-4625-ae16-f189e0b7e529" providerId="ADAL" clId="{3FA7B295-9721-4859-B4C7-15ADCB262973}" dt="2023-04-17T03:42:47.681" v="1175" actId="2696"/>
        <pc:sldMkLst>
          <pc:docMk/>
          <pc:sldMk cId="1996013864" sldId="2141411881"/>
        </pc:sldMkLst>
      </pc:sldChg>
      <pc:sldChg chg="delSp modSp add mod">
        <pc:chgData name="Gasteiger, Cassidy M" userId="49e4247d-81de-4625-ae16-f189e0b7e529" providerId="ADAL" clId="{3FA7B295-9721-4859-B4C7-15ADCB262973}" dt="2023-04-17T03:55:35.675" v="2489" actId="1076"/>
        <pc:sldMkLst>
          <pc:docMk/>
          <pc:sldMk cId="3862486273" sldId="2141411881"/>
        </pc:sldMkLst>
        <pc:spChg chg="del">
          <ac:chgData name="Gasteiger, Cassidy M" userId="49e4247d-81de-4625-ae16-f189e0b7e529" providerId="ADAL" clId="{3FA7B295-9721-4859-B4C7-15ADCB262973}" dt="2023-04-17T03:50:08.909" v="1659" actId="478"/>
          <ac:spMkLst>
            <pc:docMk/>
            <pc:sldMk cId="3862486273" sldId="2141411881"/>
            <ac:spMk id="14" creationId="{D899B259-B9C4-EC4C-68D0-0CE1B7AA7781}"/>
          </ac:spMkLst>
        </pc:spChg>
        <pc:graphicFrameChg chg="del">
          <ac:chgData name="Gasteiger, Cassidy M" userId="49e4247d-81de-4625-ae16-f189e0b7e529" providerId="ADAL" clId="{3FA7B295-9721-4859-B4C7-15ADCB262973}" dt="2023-04-17T03:50:12.282" v="1661" actId="478"/>
          <ac:graphicFrameMkLst>
            <pc:docMk/>
            <pc:sldMk cId="3862486273" sldId="2141411881"/>
            <ac:graphicFrameMk id="10" creationId="{E2357BCA-829C-0B08-3E06-250E29AC8D5F}"/>
          </ac:graphicFrameMkLst>
        </pc:graphicFrameChg>
        <pc:picChg chg="del">
          <ac:chgData name="Gasteiger, Cassidy M" userId="49e4247d-81de-4625-ae16-f189e0b7e529" providerId="ADAL" clId="{3FA7B295-9721-4859-B4C7-15ADCB262973}" dt="2023-04-17T03:50:10.589" v="1660" actId="478"/>
          <ac:picMkLst>
            <pc:docMk/>
            <pc:sldMk cId="3862486273" sldId="2141411881"/>
            <ac:picMk id="15" creationId="{521AC29E-A842-992C-D690-6B75A71F23E6}"/>
          </ac:picMkLst>
        </pc:picChg>
        <pc:picChg chg="mod">
          <ac:chgData name="Gasteiger, Cassidy M" userId="49e4247d-81de-4625-ae16-f189e0b7e529" providerId="ADAL" clId="{3FA7B295-9721-4859-B4C7-15ADCB262973}" dt="2023-04-17T03:55:35.675" v="2489" actId="1076"/>
          <ac:picMkLst>
            <pc:docMk/>
            <pc:sldMk cId="3862486273" sldId="2141411881"/>
            <ac:picMk id="16" creationId="{E01BB813-784C-C2D3-1B04-71E016015A3C}"/>
          </ac:picMkLst>
        </pc:picChg>
      </pc:sldChg>
      <pc:sldChg chg="add del">
        <pc:chgData name="Gasteiger, Cassidy M" userId="49e4247d-81de-4625-ae16-f189e0b7e529" providerId="ADAL" clId="{3FA7B295-9721-4859-B4C7-15ADCB262973}" dt="2023-04-17T03:50:33.549" v="1668" actId="2696"/>
        <pc:sldMkLst>
          <pc:docMk/>
          <pc:sldMk cId="570876823" sldId="2141411882"/>
        </pc:sldMkLst>
      </pc:sldChg>
      <pc:sldChg chg="addSp delSp modSp add mod ord">
        <pc:chgData name="Gasteiger, Cassidy M" userId="49e4247d-81de-4625-ae16-f189e0b7e529" providerId="ADAL" clId="{3FA7B295-9721-4859-B4C7-15ADCB262973}" dt="2023-04-17T04:47:54.911" v="2672" actId="1076"/>
        <pc:sldMkLst>
          <pc:docMk/>
          <pc:sldMk cId="1085331395" sldId="2141411882"/>
        </pc:sldMkLst>
        <pc:spChg chg="add del mod">
          <ac:chgData name="Gasteiger, Cassidy M" userId="49e4247d-81de-4625-ae16-f189e0b7e529" providerId="ADAL" clId="{3FA7B295-9721-4859-B4C7-15ADCB262973}" dt="2023-04-17T04:41:34.172" v="2640" actId="478"/>
          <ac:spMkLst>
            <pc:docMk/>
            <pc:sldMk cId="1085331395" sldId="2141411882"/>
            <ac:spMk id="2" creationId="{7DEC8F77-9AD5-9267-5936-24AE1057D449}"/>
          </ac:spMkLst>
        </pc:spChg>
        <pc:spChg chg="add del mod">
          <ac:chgData name="Gasteiger, Cassidy M" userId="49e4247d-81de-4625-ae16-f189e0b7e529" providerId="ADAL" clId="{3FA7B295-9721-4859-B4C7-15ADCB262973}" dt="2023-04-17T04:36:42.421" v="2576" actId="478"/>
          <ac:spMkLst>
            <pc:docMk/>
            <pc:sldMk cId="1085331395" sldId="2141411882"/>
            <ac:spMk id="4" creationId="{073088F3-DA9E-6884-D25D-F0FC8B1CFBF1}"/>
          </ac:spMkLst>
        </pc:spChg>
        <pc:spChg chg="mod topLvl">
          <ac:chgData name="Gasteiger, Cassidy M" userId="49e4247d-81de-4625-ae16-f189e0b7e529" providerId="ADAL" clId="{3FA7B295-9721-4859-B4C7-15ADCB262973}" dt="2023-04-17T04:38:34.765" v="2586" actId="164"/>
          <ac:spMkLst>
            <pc:docMk/>
            <pc:sldMk cId="1085331395" sldId="2141411882"/>
            <ac:spMk id="7" creationId="{12DD3344-2938-54BF-F614-A3F2B6B81ED7}"/>
          </ac:spMkLst>
        </pc:spChg>
        <pc:spChg chg="del mod">
          <ac:chgData name="Gasteiger, Cassidy M" userId="49e4247d-81de-4625-ae16-f189e0b7e529" providerId="ADAL" clId="{3FA7B295-9721-4859-B4C7-15ADCB262973}" dt="2023-04-17T04:41:05.815" v="2620" actId="478"/>
          <ac:spMkLst>
            <pc:docMk/>
            <pc:sldMk cId="1085331395" sldId="2141411882"/>
            <ac:spMk id="8" creationId="{94B10EA8-7CEF-C026-AE6D-0C98CA26526E}"/>
          </ac:spMkLst>
        </pc:spChg>
        <pc:spChg chg="del mod topLvl">
          <ac:chgData name="Gasteiger, Cassidy M" userId="49e4247d-81de-4625-ae16-f189e0b7e529" providerId="ADAL" clId="{3FA7B295-9721-4859-B4C7-15ADCB262973}" dt="2023-04-17T04:35:59.236" v="2570" actId="478"/>
          <ac:spMkLst>
            <pc:docMk/>
            <pc:sldMk cId="1085331395" sldId="2141411882"/>
            <ac:spMk id="9" creationId="{BD2C1F1D-0B2D-1314-784B-3DD9E0977ED0}"/>
          </ac:spMkLst>
        </pc:spChg>
        <pc:spChg chg="add mod">
          <ac:chgData name="Gasteiger, Cassidy M" userId="49e4247d-81de-4625-ae16-f189e0b7e529" providerId="ADAL" clId="{3FA7B295-9721-4859-B4C7-15ADCB262973}" dt="2023-04-17T04:38:34.765" v="2586" actId="164"/>
          <ac:spMkLst>
            <pc:docMk/>
            <pc:sldMk cId="1085331395" sldId="2141411882"/>
            <ac:spMk id="13" creationId="{0315D170-8FEE-263D-22EB-D8FBC362286B}"/>
          </ac:spMkLst>
        </pc:spChg>
        <pc:spChg chg="mod">
          <ac:chgData name="Gasteiger, Cassidy M" userId="49e4247d-81de-4625-ae16-f189e0b7e529" providerId="ADAL" clId="{3FA7B295-9721-4859-B4C7-15ADCB262973}" dt="2023-04-17T04:47:07.287" v="2666" actId="113"/>
          <ac:spMkLst>
            <pc:docMk/>
            <pc:sldMk cId="1085331395" sldId="2141411882"/>
            <ac:spMk id="23" creationId="{24DC5C23-AAAF-1599-1BB6-DAD5F5A69B10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27" creationId="{94B87834-F7D5-F5CA-FC51-51FD8E769A70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28" creationId="{70378B49-9BA3-7970-770A-8E752075C0BF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30" creationId="{F456166D-B1DB-05A7-642E-430F9830E689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31" creationId="{2D856F1F-9E49-D5BB-EA7E-8AF6E3737598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32" creationId="{CBCD68D9-F9D1-8381-C748-E674CB85CFFE}"/>
          </ac:spMkLst>
        </pc:spChg>
        <pc:spChg chg="mod">
          <ac:chgData name="Gasteiger, Cassidy M" userId="49e4247d-81de-4625-ae16-f189e0b7e529" providerId="ADAL" clId="{3FA7B295-9721-4859-B4C7-15ADCB262973}" dt="2023-04-17T04:41:43.070" v="2642" actId="20577"/>
          <ac:spMkLst>
            <pc:docMk/>
            <pc:sldMk cId="1085331395" sldId="2141411882"/>
            <ac:spMk id="33" creationId="{F50F1DEB-843E-0063-CE43-001C9F2FFD06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37" creationId="{56BC70AF-0080-FEEB-B3E4-BAE495C9287B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38" creationId="{A4263376-64D4-9E1E-E6F4-DEB05D94DCBE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40" creationId="{9620028C-4330-BBE8-9D79-4A2744189956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41" creationId="{E3458153-9ED8-958B-3CEC-E5EB79676B56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42" creationId="{42C6BE98-E594-516F-33DD-6DD583B244B0}"/>
          </ac:spMkLst>
        </pc:spChg>
        <pc:spChg chg="mod">
          <ac:chgData name="Gasteiger, Cassidy M" userId="49e4247d-81de-4625-ae16-f189e0b7e529" providerId="ADAL" clId="{3FA7B295-9721-4859-B4C7-15ADCB262973}" dt="2023-04-17T04:41:29.594" v="2637" actId="20577"/>
          <ac:spMkLst>
            <pc:docMk/>
            <pc:sldMk cId="1085331395" sldId="2141411882"/>
            <ac:spMk id="43" creationId="{09B9A188-A6C7-7FB8-2B18-BA9C2C00A5D9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47" creationId="{84FAD8B5-B36A-6406-35CF-825E9B59E0E5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48" creationId="{778A5266-027C-A83A-086F-682C329E2BF6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50" creationId="{070D6FEF-8B47-EE5A-A563-5A0805C8A9D7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51" creationId="{26824864-9B98-3F8A-F0EE-B4211527EAF8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52" creationId="{E3F90A77-B18A-FBAF-0B82-C4A465B493CF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56" creationId="{74ABCAAC-FE81-1AB4-8569-A99429C908AD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57" creationId="{6A5A2198-3257-9E93-1236-A024E6BC0205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59" creationId="{BCFB5556-D810-A7CB-B988-3C70EC6F3D66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61" creationId="{677A2542-660A-88EB-2065-0B247F78BCC2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62" creationId="{766C115B-A43B-0713-8AA6-74D1B114A701}"/>
          </ac:spMkLst>
        </pc:spChg>
        <pc:spChg chg="mod">
          <ac:chgData name="Gasteiger, Cassidy M" userId="49e4247d-81de-4625-ae16-f189e0b7e529" providerId="ADAL" clId="{3FA7B295-9721-4859-B4C7-15ADCB262973}" dt="2023-04-17T04:39:49.360" v="2595" actId="165"/>
          <ac:spMkLst>
            <pc:docMk/>
            <pc:sldMk cId="1085331395" sldId="2141411882"/>
            <ac:spMk id="63" creationId="{204A6034-159C-B198-49AB-42D22B43BFF4}"/>
          </ac:spMkLst>
        </pc:spChg>
        <pc:spChg chg="add mod">
          <ac:chgData name="Gasteiger, Cassidy M" userId="49e4247d-81de-4625-ae16-f189e0b7e529" providerId="ADAL" clId="{3FA7B295-9721-4859-B4C7-15ADCB262973}" dt="2023-04-17T04:47:54.911" v="2672" actId="1076"/>
          <ac:spMkLst>
            <pc:docMk/>
            <pc:sldMk cId="1085331395" sldId="2141411882"/>
            <ac:spMk id="197" creationId="{9E2162EC-63C4-1A44-A53E-1BF574EC47AF}"/>
          </ac:spMkLst>
        </pc:spChg>
        <pc:spChg chg="mod">
          <ac:chgData name="Gasteiger, Cassidy M" userId="49e4247d-81de-4625-ae16-f189e0b7e529" providerId="ADAL" clId="{3FA7B295-9721-4859-B4C7-15ADCB262973}" dt="2023-04-17T03:53:19.334" v="2453" actId="20577"/>
          <ac:spMkLst>
            <pc:docMk/>
            <pc:sldMk cId="1085331395" sldId="2141411882"/>
            <ac:spMk id="235" creationId="{00000000-0000-0000-0000-000000000000}"/>
          </ac:spMkLst>
        </pc:spChg>
        <pc:grpChg chg="add del mod">
          <ac:chgData name="Gasteiger, Cassidy M" userId="49e4247d-81de-4625-ae16-f189e0b7e529" providerId="ADAL" clId="{3FA7B295-9721-4859-B4C7-15ADCB262973}" dt="2023-04-17T04:35:56.243" v="2569" actId="165"/>
          <ac:grpSpMkLst>
            <pc:docMk/>
            <pc:sldMk cId="1085331395" sldId="2141411882"/>
            <ac:grpSpMk id="6" creationId="{A43482C7-D322-7B2A-5865-938D700CD3DE}"/>
          </ac:grpSpMkLst>
        </pc:grpChg>
        <pc:grpChg chg="add del mod">
          <ac:chgData name="Gasteiger, Cassidy M" userId="49e4247d-81de-4625-ae16-f189e0b7e529" providerId="ADAL" clId="{3FA7B295-9721-4859-B4C7-15ADCB262973}" dt="2023-04-17T04:40:24.469" v="2603" actId="478"/>
          <ac:grpSpMkLst>
            <pc:docMk/>
            <pc:sldMk cId="1085331395" sldId="2141411882"/>
            <ac:grpSpMk id="17" creationId="{AFFA7D45-2D72-0055-B882-838EB4AFEECE}"/>
          </ac:grpSpMkLst>
        </pc:grpChg>
        <pc:grpChg chg="add del mod">
          <ac:chgData name="Gasteiger, Cassidy M" userId="49e4247d-81de-4625-ae16-f189e0b7e529" providerId="ADAL" clId="{3FA7B295-9721-4859-B4C7-15ADCB262973}" dt="2023-04-17T04:39:49.360" v="2595" actId="165"/>
          <ac:grpSpMkLst>
            <pc:docMk/>
            <pc:sldMk cId="1085331395" sldId="2141411882"/>
            <ac:grpSpMk id="18" creationId="{4AA91B3F-3E9D-C442-9A44-F4EAC842EECA}"/>
          </ac:grpSpMkLst>
        </pc:grpChg>
        <pc:grpChg chg="del mod topLvl">
          <ac:chgData name="Gasteiger, Cassidy M" userId="49e4247d-81de-4625-ae16-f189e0b7e529" providerId="ADAL" clId="{3FA7B295-9721-4859-B4C7-15ADCB262973}" dt="2023-04-17T04:39:55.886" v="2596" actId="478"/>
          <ac:grpSpMkLst>
            <pc:docMk/>
            <pc:sldMk cId="1085331395" sldId="2141411882"/>
            <ac:grpSpMk id="19" creationId="{3107C701-490D-5079-2452-E40DD6CB5E55}"/>
          </ac:grpSpMkLst>
        </pc:grpChg>
        <pc:grpChg chg="add del mod topLvl">
          <ac:chgData name="Gasteiger, Cassidy M" userId="49e4247d-81de-4625-ae16-f189e0b7e529" providerId="ADAL" clId="{3FA7B295-9721-4859-B4C7-15ADCB262973}" dt="2023-04-17T04:47:20.036" v="2667" actId="1076"/>
          <ac:grpSpMkLst>
            <pc:docMk/>
            <pc:sldMk cId="1085331395" sldId="2141411882"/>
            <ac:grpSpMk id="20" creationId="{24CDBDC1-A8FF-EA46-CB34-67B54DBF2CB1}"/>
          </ac:grpSpMkLst>
        </pc:grpChg>
        <pc:grpChg chg="mod topLvl">
          <ac:chgData name="Gasteiger, Cassidy M" userId="49e4247d-81de-4625-ae16-f189e0b7e529" providerId="ADAL" clId="{3FA7B295-9721-4859-B4C7-15ADCB262973}" dt="2023-04-17T04:47:20.036" v="2667" actId="1076"/>
          <ac:grpSpMkLst>
            <pc:docMk/>
            <pc:sldMk cId="1085331395" sldId="2141411882"/>
            <ac:grpSpMk id="21" creationId="{3E28A1E5-04E9-080B-24FD-A7FE6D80B339}"/>
          </ac:grpSpMkLst>
        </pc:grpChg>
        <pc:grpChg chg="mod topLvl">
          <ac:chgData name="Gasteiger, Cassidy M" userId="49e4247d-81de-4625-ae16-f189e0b7e529" providerId="ADAL" clId="{3FA7B295-9721-4859-B4C7-15ADCB262973}" dt="2023-04-17T04:47:24.871" v="2668" actId="1076"/>
          <ac:grpSpMkLst>
            <pc:docMk/>
            <pc:sldMk cId="1085331395" sldId="2141411882"/>
            <ac:grpSpMk id="22" creationId="{0437DCB1-A74E-8CF1-7E60-ACFC521F440D}"/>
          </ac:grpSpMkLst>
        </pc:grpChg>
        <pc:grpChg chg="mod">
          <ac:chgData name="Gasteiger, Cassidy M" userId="49e4247d-81de-4625-ae16-f189e0b7e529" providerId="ADAL" clId="{3FA7B295-9721-4859-B4C7-15ADCB262973}" dt="2023-04-17T04:39:49.360" v="2595" actId="165"/>
          <ac:grpSpMkLst>
            <pc:docMk/>
            <pc:sldMk cId="1085331395" sldId="2141411882"/>
            <ac:grpSpMk id="24" creationId="{EEA6923E-D749-9A67-67B2-AEF8102C2857}"/>
          </ac:grpSpMkLst>
        </pc:grpChg>
        <pc:grpChg chg="mod">
          <ac:chgData name="Gasteiger, Cassidy M" userId="49e4247d-81de-4625-ae16-f189e0b7e529" providerId="ADAL" clId="{3FA7B295-9721-4859-B4C7-15ADCB262973}" dt="2023-04-17T04:39:49.360" v="2595" actId="165"/>
          <ac:grpSpMkLst>
            <pc:docMk/>
            <pc:sldMk cId="1085331395" sldId="2141411882"/>
            <ac:grpSpMk id="26" creationId="{012C43E8-9E4B-75CB-828F-D37425D77BEB}"/>
          </ac:grpSpMkLst>
        </pc:grpChg>
        <pc:grpChg chg="mod">
          <ac:chgData name="Gasteiger, Cassidy M" userId="49e4247d-81de-4625-ae16-f189e0b7e529" providerId="ADAL" clId="{3FA7B295-9721-4859-B4C7-15ADCB262973}" dt="2023-04-17T04:39:49.360" v="2595" actId="165"/>
          <ac:grpSpMkLst>
            <pc:docMk/>
            <pc:sldMk cId="1085331395" sldId="2141411882"/>
            <ac:grpSpMk id="34" creationId="{5E5AF9CC-52E8-8743-D3FC-492C3D99D8E2}"/>
          </ac:grpSpMkLst>
        </pc:grpChg>
        <pc:grpChg chg="mod">
          <ac:chgData name="Gasteiger, Cassidy M" userId="49e4247d-81de-4625-ae16-f189e0b7e529" providerId="ADAL" clId="{3FA7B295-9721-4859-B4C7-15ADCB262973}" dt="2023-04-17T04:39:49.360" v="2595" actId="165"/>
          <ac:grpSpMkLst>
            <pc:docMk/>
            <pc:sldMk cId="1085331395" sldId="2141411882"/>
            <ac:grpSpMk id="36" creationId="{91739432-BF77-B4ED-640E-4E04E06622E8}"/>
          </ac:grpSpMkLst>
        </pc:grpChg>
        <pc:grpChg chg="mod">
          <ac:chgData name="Gasteiger, Cassidy M" userId="49e4247d-81de-4625-ae16-f189e0b7e529" providerId="ADAL" clId="{3FA7B295-9721-4859-B4C7-15ADCB262973}" dt="2023-04-17T04:39:49.360" v="2595" actId="165"/>
          <ac:grpSpMkLst>
            <pc:docMk/>
            <pc:sldMk cId="1085331395" sldId="2141411882"/>
            <ac:grpSpMk id="44" creationId="{525193B3-C60F-02E1-1665-60ACB9317289}"/>
          </ac:grpSpMkLst>
        </pc:grpChg>
        <pc:grpChg chg="mod">
          <ac:chgData name="Gasteiger, Cassidy M" userId="49e4247d-81de-4625-ae16-f189e0b7e529" providerId="ADAL" clId="{3FA7B295-9721-4859-B4C7-15ADCB262973}" dt="2023-04-17T04:39:49.360" v="2595" actId="165"/>
          <ac:grpSpMkLst>
            <pc:docMk/>
            <pc:sldMk cId="1085331395" sldId="2141411882"/>
            <ac:grpSpMk id="46" creationId="{53FA847E-BF0A-D9E2-9FE5-405201615826}"/>
          </ac:grpSpMkLst>
        </pc:grpChg>
        <pc:grpChg chg="mod">
          <ac:chgData name="Gasteiger, Cassidy M" userId="49e4247d-81de-4625-ae16-f189e0b7e529" providerId="ADAL" clId="{3FA7B295-9721-4859-B4C7-15ADCB262973}" dt="2023-04-17T04:39:49.360" v="2595" actId="165"/>
          <ac:grpSpMkLst>
            <pc:docMk/>
            <pc:sldMk cId="1085331395" sldId="2141411882"/>
            <ac:grpSpMk id="53" creationId="{20EC0201-660F-9C92-265A-777500E76E5A}"/>
          </ac:grpSpMkLst>
        </pc:grpChg>
        <pc:grpChg chg="mod">
          <ac:chgData name="Gasteiger, Cassidy M" userId="49e4247d-81de-4625-ae16-f189e0b7e529" providerId="ADAL" clId="{3FA7B295-9721-4859-B4C7-15ADCB262973}" dt="2023-04-17T04:39:49.360" v="2595" actId="165"/>
          <ac:grpSpMkLst>
            <pc:docMk/>
            <pc:sldMk cId="1085331395" sldId="2141411882"/>
            <ac:grpSpMk id="55" creationId="{0C815358-6875-DA9F-0C10-A7F228F0CF37}"/>
          </ac:grpSpMkLst>
        </pc:grpChg>
        <pc:grpChg chg="mod">
          <ac:chgData name="Gasteiger, Cassidy M" userId="49e4247d-81de-4625-ae16-f189e0b7e529" providerId="ADAL" clId="{3FA7B295-9721-4859-B4C7-15ADCB262973}" dt="2023-04-17T04:39:49.360" v="2595" actId="165"/>
          <ac:grpSpMkLst>
            <pc:docMk/>
            <pc:sldMk cId="1085331395" sldId="2141411882"/>
            <ac:grpSpMk id="58" creationId="{548C762A-2EE0-170C-1FC9-4729FB28FFE9}"/>
          </ac:grpSpMkLst>
        </pc:grpChg>
        <pc:picChg chg="del">
          <ac:chgData name="Gasteiger, Cassidy M" userId="49e4247d-81de-4625-ae16-f189e0b7e529" providerId="ADAL" clId="{3FA7B295-9721-4859-B4C7-15ADCB262973}" dt="2023-04-17T03:50:44.096" v="1708" actId="478"/>
          <ac:picMkLst>
            <pc:docMk/>
            <pc:sldMk cId="1085331395" sldId="2141411882"/>
            <ac:picMk id="5" creationId="{150C5913-275B-1D38-3887-910A6B4E0A04}"/>
          </ac:picMkLst>
        </pc:picChg>
        <pc:picChg chg="add del mod">
          <ac:chgData name="Gasteiger, Cassidy M" userId="49e4247d-81de-4625-ae16-f189e0b7e529" providerId="ADAL" clId="{3FA7B295-9721-4859-B4C7-15ADCB262973}" dt="2023-04-17T04:38:01.581" v="2577" actId="478"/>
          <ac:picMkLst>
            <pc:docMk/>
            <pc:sldMk cId="1085331395" sldId="2141411882"/>
            <ac:picMk id="14" creationId="{883ABD33-CF60-740F-B228-A37B740FEBEE}"/>
          </ac:picMkLst>
        </pc:picChg>
        <pc:picChg chg="add del mod">
          <ac:chgData name="Gasteiger, Cassidy M" userId="49e4247d-81de-4625-ae16-f189e0b7e529" providerId="ADAL" clId="{3FA7B295-9721-4859-B4C7-15ADCB262973}" dt="2023-04-17T04:40:23.180" v="2602" actId="478"/>
          <ac:picMkLst>
            <pc:docMk/>
            <pc:sldMk cId="1085331395" sldId="2141411882"/>
            <ac:picMk id="16" creationId="{B57C8F89-0C77-96E5-65A6-EBA2F8DC2504}"/>
          </ac:picMkLst>
        </pc:picChg>
        <pc:picChg chg="add mod">
          <ac:chgData name="Gasteiger, Cassidy M" userId="49e4247d-81de-4625-ae16-f189e0b7e529" providerId="ADAL" clId="{3FA7B295-9721-4859-B4C7-15ADCB262973}" dt="2023-04-17T04:47:20.036" v="2667" actId="1076"/>
          <ac:picMkLst>
            <pc:docMk/>
            <pc:sldMk cId="1085331395" sldId="2141411882"/>
            <ac:picMk id="193" creationId="{2FF9D29C-5707-C1C1-694C-24A6A767E8B2}"/>
          </ac:picMkLst>
        </pc:picChg>
        <pc:picChg chg="add mod">
          <ac:chgData name="Gasteiger, Cassidy M" userId="49e4247d-81de-4625-ae16-f189e0b7e529" providerId="ADAL" clId="{3FA7B295-9721-4859-B4C7-15ADCB262973}" dt="2023-04-17T04:47:20.036" v="2667" actId="1076"/>
          <ac:picMkLst>
            <pc:docMk/>
            <pc:sldMk cId="1085331395" sldId="2141411882"/>
            <ac:picMk id="194" creationId="{E3D7E2B9-D8DB-3555-15B7-B146D20E8A14}"/>
          </ac:picMkLst>
        </pc:picChg>
        <pc:picChg chg="add mod">
          <ac:chgData name="Gasteiger, Cassidy M" userId="49e4247d-81de-4625-ae16-f189e0b7e529" providerId="ADAL" clId="{3FA7B295-9721-4859-B4C7-15ADCB262973}" dt="2023-04-17T04:47:24.871" v="2668" actId="1076"/>
          <ac:picMkLst>
            <pc:docMk/>
            <pc:sldMk cId="1085331395" sldId="2141411882"/>
            <ac:picMk id="196" creationId="{7343164C-20C4-D57D-882E-BEA69F6F15BF}"/>
          </ac:picMkLst>
        </pc:picChg>
        <pc:cxnChg chg="del">
          <ac:chgData name="Gasteiger, Cassidy M" userId="49e4247d-81de-4625-ae16-f189e0b7e529" providerId="ADAL" clId="{3FA7B295-9721-4859-B4C7-15ADCB262973}" dt="2023-04-17T03:50:52.092" v="1711" actId="478"/>
          <ac:cxnSpMkLst>
            <pc:docMk/>
            <pc:sldMk cId="1085331395" sldId="2141411882"/>
            <ac:cxnSpMk id="10" creationId="{42AE90B6-DF18-C891-CCA3-972472E726A2}"/>
          </ac:cxnSpMkLst>
        </pc:cxnChg>
        <pc:cxnChg chg="mod">
          <ac:chgData name="Gasteiger, Cassidy M" userId="49e4247d-81de-4625-ae16-f189e0b7e529" providerId="ADAL" clId="{3FA7B295-9721-4859-B4C7-15ADCB262973}" dt="2023-04-17T04:39:49.360" v="2595" actId="165"/>
          <ac:cxnSpMkLst>
            <pc:docMk/>
            <pc:sldMk cId="1085331395" sldId="2141411882"/>
            <ac:cxnSpMk id="25" creationId="{146CCD85-EC61-7553-E726-B9B0B095C140}"/>
          </ac:cxnSpMkLst>
        </pc:cxnChg>
        <pc:cxnChg chg="mod">
          <ac:chgData name="Gasteiger, Cassidy M" userId="49e4247d-81de-4625-ae16-f189e0b7e529" providerId="ADAL" clId="{3FA7B295-9721-4859-B4C7-15ADCB262973}" dt="2023-04-17T04:39:49.360" v="2595" actId="165"/>
          <ac:cxnSpMkLst>
            <pc:docMk/>
            <pc:sldMk cId="1085331395" sldId="2141411882"/>
            <ac:cxnSpMk id="29" creationId="{262D95BE-06CD-FABB-D9BB-89CD040D102F}"/>
          </ac:cxnSpMkLst>
        </pc:cxnChg>
        <pc:cxnChg chg="mod">
          <ac:chgData name="Gasteiger, Cassidy M" userId="49e4247d-81de-4625-ae16-f189e0b7e529" providerId="ADAL" clId="{3FA7B295-9721-4859-B4C7-15ADCB262973}" dt="2023-04-17T04:39:49.360" v="2595" actId="165"/>
          <ac:cxnSpMkLst>
            <pc:docMk/>
            <pc:sldMk cId="1085331395" sldId="2141411882"/>
            <ac:cxnSpMk id="35" creationId="{404F2823-39E1-D332-3CF9-C57547E8C3A6}"/>
          </ac:cxnSpMkLst>
        </pc:cxnChg>
        <pc:cxnChg chg="mod">
          <ac:chgData name="Gasteiger, Cassidy M" userId="49e4247d-81de-4625-ae16-f189e0b7e529" providerId="ADAL" clId="{3FA7B295-9721-4859-B4C7-15ADCB262973}" dt="2023-04-17T04:39:49.360" v="2595" actId="165"/>
          <ac:cxnSpMkLst>
            <pc:docMk/>
            <pc:sldMk cId="1085331395" sldId="2141411882"/>
            <ac:cxnSpMk id="39" creationId="{7E578C43-D957-AD4F-B150-F9E42D030976}"/>
          </ac:cxnSpMkLst>
        </pc:cxnChg>
        <pc:cxnChg chg="mod">
          <ac:chgData name="Gasteiger, Cassidy M" userId="49e4247d-81de-4625-ae16-f189e0b7e529" providerId="ADAL" clId="{3FA7B295-9721-4859-B4C7-15ADCB262973}" dt="2023-04-17T04:39:49.360" v="2595" actId="165"/>
          <ac:cxnSpMkLst>
            <pc:docMk/>
            <pc:sldMk cId="1085331395" sldId="2141411882"/>
            <ac:cxnSpMk id="45" creationId="{68257A3E-3B74-1E2B-D493-E09D2B45B0EA}"/>
          </ac:cxnSpMkLst>
        </pc:cxnChg>
        <pc:cxnChg chg="mod">
          <ac:chgData name="Gasteiger, Cassidy M" userId="49e4247d-81de-4625-ae16-f189e0b7e529" providerId="ADAL" clId="{3FA7B295-9721-4859-B4C7-15ADCB262973}" dt="2023-04-17T04:39:49.360" v="2595" actId="165"/>
          <ac:cxnSpMkLst>
            <pc:docMk/>
            <pc:sldMk cId="1085331395" sldId="2141411882"/>
            <ac:cxnSpMk id="49" creationId="{86D6E864-FE19-39B4-ACF4-9B591596A467}"/>
          </ac:cxnSpMkLst>
        </pc:cxnChg>
        <pc:cxnChg chg="mod">
          <ac:chgData name="Gasteiger, Cassidy M" userId="49e4247d-81de-4625-ae16-f189e0b7e529" providerId="ADAL" clId="{3FA7B295-9721-4859-B4C7-15ADCB262973}" dt="2023-04-17T04:39:49.360" v="2595" actId="165"/>
          <ac:cxnSpMkLst>
            <pc:docMk/>
            <pc:sldMk cId="1085331395" sldId="2141411882"/>
            <ac:cxnSpMk id="54" creationId="{E29DCC83-F162-DDA9-6315-F10A9F5274B6}"/>
          </ac:cxnSpMkLst>
        </pc:cxnChg>
        <pc:cxnChg chg="mod">
          <ac:chgData name="Gasteiger, Cassidy M" userId="49e4247d-81de-4625-ae16-f189e0b7e529" providerId="ADAL" clId="{3FA7B295-9721-4859-B4C7-15ADCB262973}" dt="2023-04-17T04:39:49.360" v="2595" actId="165"/>
          <ac:cxnSpMkLst>
            <pc:docMk/>
            <pc:sldMk cId="1085331395" sldId="2141411882"/>
            <ac:cxnSpMk id="60" creationId="{DE0EE4B3-4EFA-7975-3FF4-7DA0F1C6144D}"/>
          </ac:cxnSpMkLst>
        </pc:cxnChg>
      </pc:sldChg>
      <pc:sldChg chg="delSp modSp add mod">
        <pc:chgData name="Gasteiger, Cassidy M" userId="49e4247d-81de-4625-ae16-f189e0b7e529" providerId="ADAL" clId="{3FA7B295-9721-4859-B4C7-15ADCB262973}" dt="2023-04-17T03:56:07.351" v="2499" actId="1076"/>
        <pc:sldMkLst>
          <pc:docMk/>
          <pc:sldMk cId="3436113689" sldId="2141411883"/>
        </pc:sldMkLst>
        <pc:spChg chg="del">
          <ac:chgData name="Gasteiger, Cassidy M" userId="49e4247d-81de-4625-ae16-f189e0b7e529" providerId="ADAL" clId="{3FA7B295-9721-4859-B4C7-15ADCB262973}" dt="2023-04-17T03:55:43.953" v="2491" actId="478"/>
          <ac:spMkLst>
            <pc:docMk/>
            <pc:sldMk cId="3436113689" sldId="2141411883"/>
            <ac:spMk id="4" creationId="{57197048-F1B9-38AB-DC8B-5E769897413B}"/>
          </ac:spMkLst>
        </pc:spChg>
        <pc:graphicFrameChg chg="del">
          <ac:chgData name="Gasteiger, Cassidy M" userId="49e4247d-81de-4625-ae16-f189e0b7e529" providerId="ADAL" clId="{3FA7B295-9721-4859-B4C7-15ADCB262973}" dt="2023-04-17T03:55:47.846" v="2493" actId="478"/>
          <ac:graphicFrameMkLst>
            <pc:docMk/>
            <pc:sldMk cId="3436113689" sldId="2141411883"/>
            <ac:graphicFrameMk id="2" creationId="{FAFE7987-A72A-0A64-1AE1-4D74401D8A42}"/>
          </ac:graphicFrameMkLst>
        </pc:graphicFrameChg>
        <pc:picChg chg="del">
          <ac:chgData name="Gasteiger, Cassidy M" userId="49e4247d-81de-4625-ae16-f189e0b7e529" providerId="ADAL" clId="{3FA7B295-9721-4859-B4C7-15ADCB262973}" dt="2023-04-17T03:55:44.832" v="2492" actId="478"/>
          <ac:picMkLst>
            <pc:docMk/>
            <pc:sldMk cId="3436113689" sldId="2141411883"/>
            <ac:picMk id="1026" creationId="{AB969A8B-FD86-21DC-97C5-F2E079233A39}"/>
          </ac:picMkLst>
        </pc:picChg>
        <pc:picChg chg="mod">
          <ac:chgData name="Gasteiger, Cassidy M" userId="49e4247d-81de-4625-ae16-f189e0b7e529" providerId="ADAL" clId="{3FA7B295-9721-4859-B4C7-15ADCB262973}" dt="2023-04-17T03:56:07.351" v="2499" actId="1076"/>
          <ac:picMkLst>
            <pc:docMk/>
            <pc:sldMk cId="3436113689" sldId="2141411883"/>
            <ac:picMk id="1028" creationId="{1B4A2BAE-7F7E-1CC6-6CFF-C5AF76EA8205}"/>
          </ac:picMkLst>
        </pc:picChg>
      </pc:sldChg>
      <pc:sldChg chg="addSp delSp modSp mod">
        <pc:chgData name="Gasteiger, Cassidy M" userId="49e4247d-81de-4625-ae16-f189e0b7e529" providerId="ADAL" clId="{3FA7B295-9721-4859-B4C7-15ADCB262973}" dt="2023-04-17T06:10:39.138" v="3312" actId="20577"/>
        <pc:sldMkLst>
          <pc:docMk/>
          <pc:sldMk cId="2827436235" sldId="2141411884"/>
        </pc:sldMkLst>
        <pc:spChg chg="mod">
          <ac:chgData name="Gasteiger, Cassidy M" userId="49e4247d-81de-4625-ae16-f189e0b7e529" providerId="ADAL" clId="{3FA7B295-9721-4859-B4C7-15ADCB262973}" dt="2023-04-17T06:10:39.138" v="3312" actId="20577"/>
          <ac:spMkLst>
            <pc:docMk/>
            <pc:sldMk cId="2827436235" sldId="2141411884"/>
            <ac:spMk id="2" creationId="{73F5D6EB-3FAC-6CA3-4F41-E61795B11E00}"/>
          </ac:spMkLst>
        </pc:spChg>
        <pc:spChg chg="mod">
          <ac:chgData name="Gasteiger, Cassidy M" userId="49e4247d-81de-4625-ae16-f189e0b7e529" providerId="ADAL" clId="{3FA7B295-9721-4859-B4C7-15ADCB262973}" dt="2023-04-17T06:08:29.271" v="3290"/>
          <ac:spMkLst>
            <pc:docMk/>
            <pc:sldMk cId="2827436235" sldId="2141411884"/>
            <ac:spMk id="4" creationId="{813FEB8A-08A9-1661-C8C8-22AB81898F6D}"/>
          </ac:spMkLst>
        </pc:spChg>
        <pc:spChg chg="mod">
          <ac:chgData name="Gasteiger, Cassidy M" userId="49e4247d-81de-4625-ae16-f189e0b7e529" providerId="ADAL" clId="{3FA7B295-9721-4859-B4C7-15ADCB262973}" dt="2023-04-17T06:08:29.271" v="3290"/>
          <ac:spMkLst>
            <pc:docMk/>
            <pc:sldMk cId="2827436235" sldId="2141411884"/>
            <ac:spMk id="5" creationId="{5DD5D5CF-96DD-828F-3507-D0ABAC7E017F}"/>
          </ac:spMkLst>
        </pc:spChg>
        <pc:spChg chg="mod">
          <ac:chgData name="Gasteiger, Cassidy M" userId="49e4247d-81de-4625-ae16-f189e0b7e529" providerId="ADAL" clId="{3FA7B295-9721-4859-B4C7-15ADCB262973}" dt="2023-04-17T06:08:29.271" v="3290"/>
          <ac:spMkLst>
            <pc:docMk/>
            <pc:sldMk cId="2827436235" sldId="2141411884"/>
            <ac:spMk id="7" creationId="{9744AE3B-51A1-EF38-5CC2-DD0044CBB755}"/>
          </ac:spMkLst>
        </pc:spChg>
        <pc:spChg chg="mod">
          <ac:chgData name="Gasteiger, Cassidy M" userId="49e4247d-81de-4625-ae16-f189e0b7e529" providerId="ADAL" clId="{3FA7B295-9721-4859-B4C7-15ADCB262973}" dt="2023-04-17T06:08:29.271" v="3290"/>
          <ac:spMkLst>
            <pc:docMk/>
            <pc:sldMk cId="2827436235" sldId="2141411884"/>
            <ac:spMk id="8" creationId="{5538B569-EB29-8E61-EAEA-75D82C6CD626}"/>
          </ac:spMkLst>
        </pc:spChg>
        <pc:spChg chg="mod">
          <ac:chgData name="Gasteiger, Cassidy M" userId="49e4247d-81de-4625-ae16-f189e0b7e529" providerId="ADAL" clId="{3FA7B295-9721-4859-B4C7-15ADCB262973}" dt="2023-04-17T06:10:05.341" v="3308" actId="113"/>
          <ac:spMkLst>
            <pc:docMk/>
            <pc:sldMk cId="2827436235" sldId="2141411884"/>
            <ac:spMk id="37" creationId="{45A75D10-8915-1A02-EDF1-CA30A721EA50}"/>
          </ac:spMkLst>
        </pc:spChg>
        <pc:spChg chg="mod">
          <ac:chgData name="Gasteiger, Cassidy M" userId="49e4247d-81de-4625-ae16-f189e0b7e529" providerId="ADAL" clId="{3FA7B295-9721-4859-B4C7-15ADCB262973}" dt="2023-04-17T06:08:36.683" v="3292" actId="207"/>
          <ac:spMkLst>
            <pc:docMk/>
            <pc:sldMk cId="2827436235" sldId="2141411884"/>
            <ac:spMk id="90" creationId="{40C14C57-60EB-8359-9504-9FEA38162933}"/>
          </ac:spMkLst>
        </pc:spChg>
        <pc:spChg chg="mod">
          <ac:chgData name="Gasteiger, Cassidy M" userId="49e4247d-81de-4625-ae16-f189e0b7e529" providerId="ADAL" clId="{3FA7B295-9721-4859-B4C7-15ADCB262973}" dt="2023-04-17T06:10:28.016" v="3311" actId="207"/>
          <ac:spMkLst>
            <pc:docMk/>
            <pc:sldMk cId="2827436235" sldId="2141411884"/>
            <ac:spMk id="96" creationId="{1E17FF98-0A6C-6CF7-F226-C5E1487F32A9}"/>
          </ac:spMkLst>
        </pc:spChg>
        <pc:spChg chg="mod">
          <ac:chgData name="Gasteiger, Cassidy M" userId="49e4247d-81de-4625-ae16-f189e0b7e529" providerId="ADAL" clId="{3FA7B295-9721-4859-B4C7-15ADCB262973}" dt="2023-04-17T06:09:17.757" v="3296" actId="207"/>
          <ac:spMkLst>
            <pc:docMk/>
            <pc:sldMk cId="2827436235" sldId="2141411884"/>
            <ac:spMk id="97" creationId="{7D06FA32-0376-1FCD-FDB6-1DAB8FFCF3B6}"/>
          </ac:spMkLst>
        </pc:spChg>
        <pc:spChg chg="mod">
          <ac:chgData name="Gasteiger, Cassidy M" userId="49e4247d-81de-4625-ae16-f189e0b7e529" providerId="ADAL" clId="{3FA7B295-9721-4859-B4C7-15ADCB262973}" dt="2023-04-17T06:09:27.414" v="3298" actId="207"/>
          <ac:spMkLst>
            <pc:docMk/>
            <pc:sldMk cId="2827436235" sldId="2141411884"/>
            <ac:spMk id="99" creationId="{263E0A4F-73F6-7F85-A2A7-C21A3728D961}"/>
          </ac:spMkLst>
        </pc:spChg>
        <pc:spChg chg="mod">
          <ac:chgData name="Gasteiger, Cassidy M" userId="49e4247d-81de-4625-ae16-f189e0b7e529" providerId="ADAL" clId="{3FA7B295-9721-4859-B4C7-15ADCB262973}" dt="2023-04-17T06:09:22.922" v="3297" actId="207"/>
          <ac:spMkLst>
            <pc:docMk/>
            <pc:sldMk cId="2827436235" sldId="2141411884"/>
            <ac:spMk id="101" creationId="{F2C14EF2-CE47-577F-34BF-730A31062113}"/>
          </ac:spMkLst>
        </pc:spChg>
        <pc:spChg chg="mod">
          <ac:chgData name="Gasteiger, Cassidy M" userId="49e4247d-81de-4625-ae16-f189e0b7e529" providerId="ADAL" clId="{3FA7B295-9721-4859-B4C7-15ADCB262973}" dt="2023-04-17T06:09:09.531" v="3295" actId="207"/>
          <ac:spMkLst>
            <pc:docMk/>
            <pc:sldMk cId="2827436235" sldId="2141411884"/>
            <ac:spMk id="103" creationId="{7BA54CA1-6D09-EC4B-AB1D-F5B7BC07D952}"/>
          </ac:spMkLst>
        </pc:spChg>
        <pc:spChg chg="mod">
          <ac:chgData name="Gasteiger, Cassidy M" userId="49e4247d-81de-4625-ae16-f189e0b7e529" providerId="ADAL" clId="{3FA7B295-9721-4859-B4C7-15ADCB262973}" dt="2023-04-17T06:09:32.218" v="3299" actId="207"/>
          <ac:spMkLst>
            <pc:docMk/>
            <pc:sldMk cId="2827436235" sldId="2141411884"/>
            <ac:spMk id="109" creationId="{ED2980E3-734B-6B5A-3293-42DB94977259}"/>
          </ac:spMkLst>
        </pc:spChg>
        <pc:spChg chg="mod topLvl">
          <ac:chgData name="Gasteiger, Cassidy M" userId="49e4247d-81de-4625-ae16-f189e0b7e529" providerId="ADAL" clId="{3FA7B295-9721-4859-B4C7-15ADCB262973}" dt="2023-04-17T06:08:53.889" v="3294" actId="207"/>
          <ac:spMkLst>
            <pc:docMk/>
            <pc:sldMk cId="2827436235" sldId="2141411884"/>
            <ac:spMk id="112" creationId="{52D48EE7-467F-4CD5-A596-09006032B306}"/>
          </ac:spMkLst>
        </pc:spChg>
        <pc:spChg chg="mod">
          <ac:chgData name="Gasteiger, Cassidy M" userId="49e4247d-81de-4625-ae16-f189e0b7e529" providerId="ADAL" clId="{3FA7B295-9721-4859-B4C7-15ADCB262973}" dt="2023-04-17T06:09:39.014" v="3301" actId="255"/>
          <ac:spMkLst>
            <pc:docMk/>
            <pc:sldMk cId="2827436235" sldId="2141411884"/>
            <ac:spMk id="139" creationId="{692FC25A-DD99-B7C8-6332-B6001E48DCFC}"/>
          </ac:spMkLst>
        </pc:spChg>
        <pc:spChg chg="mod">
          <ac:chgData name="Gasteiger, Cassidy M" userId="49e4247d-81de-4625-ae16-f189e0b7e529" providerId="ADAL" clId="{3FA7B295-9721-4859-B4C7-15ADCB262973}" dt="2023-04-17T06:09:43.349" v="3302" actId="2711"/>
          <ac:spMkLst>
            <pc:docMk/>
            <pc:sldMk cId="2827436235" sldId="2141411884"/>
            <ac:spMk id="140" creationId="{DB22CFA6-83E1-896C-7900-658DB413C590}"/>
          </ac:spMkLst>
        </pc:spChg>
        <pc:spChg chg="mod">
          <ac:chgData name="Gasteiger, Cassidy M" userId="49e4247d-81de-4625-ae16-f189e0b7e529" providerId="ADAL" clId="{3FA7B295-9721-4859-B4C7-15ADCB262973}" dt="2023-04-17T06:09:47.425" v="3303" actId="2711"/>
          <ac:spMkLst>
            <pc:docMk/>
            <pc:sldMk cId="2827436235" sldId="2141411884"/>
            <ac:spMk id="141" creationId="{DB67F476-164D-26DB-689C-7626285699FE}"/>
          </ac:spMkLst>
        </pc:spChg>
        <pc:spChg chg="mod">
          <ac:chgData name="Gasteiger, Cassidy M" userId="49e4247d-81de-4625-ae16-f189e0b7e529" providerId="ADAL" clId="{3FA7B295-9721-4859-B4C7-15ADCB262973}" dt="2023-04-17T06:09:51.514" v="3304" actId="2711"/>
          <ac:spMkLst>
            <pc:docMk/>
            <pc:sldMk cId="2827436235" sldId="2141411884"/>
            <ac:spMk id="142" creationId="{2CDA3C6D-27FD-CEC0-DA66-B072A52FE2C4}"/>
          </ac:spMkLst>
        </pc:spChg>
        <pc:spChg chg="mod">
          <ac:chgData name="Gasteiger, Cassidy M" userId="49e4247d-81de-4625-ae16-f189e0b7e529" providerId="ADAL" clId="{3FA7B295-9721-4859-B4C7-15ADCB262973}" dt="2023-04-17T06:09:55.329" v="3305" actId="2711"/>
          <ac:spMkLst>
            <pc:docMk/>
            <pc:sldMk cId="2827436235" sldId="2141411884"/>
            <ac:spMk id="143" creationId="{CEE7BFD0-6202-EFB2-FC43-204812EC6D53}"/>
          </ac:spMkLst>
        </pc:spChg>
        <pc:grpChg chg="add del mod">
          <ac:chgData name="Gasteiger, Cassidy M" userId="49e4247d-81de-4625-ae16-f189e0b7e529" providerId="ADAL" clId="{3FA7B295-9721-4859-B4C7-15ADCB262973}" dt="2023-04-17T06:08:30.543" v="3291" actId="478"/>
          <ac:grpSpMkLst>
            <pc:docMk/>
            <pc:sldMk cId="2827436235" sldId="2141411884"/>
            <ac:grpSpMk id="3" creationId="{108F284B-2191-2B85-6246-86F56DF6698B}"/>
          </ac:grpSpMkLst>
        </pc:grpChg>
        <pc:grpChg chg="add del mod">
          <ac:chgData name="Gasteiger, Cassidy M" userId="49e4247d-81de-4625-ae16-f189e0b7e529" providerId="ADAL" clId="{3FA7B295-9721-4859-B4C7-15ADCB262973}" dt="2023-04-17T06:08:30.543" v="3291" actId="478"/>
          <ac:grpSpMkLst>
            <pc:docMk/>
            <pc:sldMk cId="2827436235" sldId="2141411884"/>
            <ac:grpSpMk id="6" creationId="{939BDF00-8872-DE56-91B0-C55B16C55BBF}"/>
          </ac:grpSpMkLst>
        </pc:grpChg>
        <pc:grpChg chg="del mod ord">
          <ac:chgData name="Gasteiger, Cassidy M" userId="49e4247d-81de-4625-ae16-f189e0b7e529" providerId="ADAL" clId="{3FA7B295-9721-4859-B4C7-15ADCB262973}" dt="2023-04-17T06:08:48.569" v="3293" actId="165"/>
          <ac:grpSpMkLst>
            <pc:docMk/>
            <pc:sldMk cId="2827436235" sldId="2141411884"/>
            <ac:grpSpMk id="111" creationId="{F935FE12-B225-1052-1E6A-2E37C4CB0E5E}"/>
          </ac:grpSpMkLst>
        </pc:grpChg>
        <pc:picChg chg="mod ord topLvl">
          <ac:chgData name="Gasteiger, Cassidy M" userId="49e4247d-81de-4625-ae16-f189e0b7e529" providerId="ADAL" clId="{3FA7B295-9721-4859-B4C7-15ADCB262973}" dt="2023-04-17T06:08:48.569" v="3293" actId="165"/>
          <ac:picMkLst>
            <pc:docMk/>
            <pc:sldMk cId="2827436235" sldId="2141411884"/>
            <ac:picMk id="113" creationId="{6C82F7E8-AB75-0E93-BB50-43FD8DED2727}"/>
          </ac:picMkLst>
        </pc:picChg>
      </pc:sldChg>
      <pc:sldChg chg="addSp delSp modSp del mod ord">
        <pc:chgData name="Gasteiger, Cassidy M" userId="49e4247d-81de-4625-ae16-f189e0b7e529" providerId="ADAL" clId="{3FA7B295-9721-4859-B4C7-15ADCB262973}" dt="2023-04-17T15:21:02.236" v="3679" actId="2696"/>
        <pc:sldMkLst>
          <pc:docMk/>
          <pc:sldMk cId="1846322232" sldId="2141411885"/>
        </pc:sldMkLst>
        <pc:spChg chg="add mod">
          <ac:chgData name="Gasteiger, Cassidy M" userId="49e4247d-81de-4625-ae16-f189e0b7e529" providerId="ADAL" clId="{3FA7B295-9721-4859-B4C7-15ADCB262973}" dt="2023-04-17T06:33:11.003" v="3630" actId="1036"/>
          <ac:spMkLst>
            <pc:docMk/>
            <pc:sldMk cId="1846322232" sldId="2141411885"/>
            <ac:spMk id="3" creationId="{7C1E38EC-477B-7B95-D6CC-627812DB3A9A}"/>
          </ac:spMkLst>
        </pc:spChg>
        <pc:spChg chg="mod">
          <ac:chgData name="Gasteiger, Cassidy M" userId="49e4247d-81de-4625-ae16-f189e0b7e529" providerId="ADAL" clId="{3FA7B295-9721-4859-B4C7-15ADCB262973}" dt="2023-04-17T06:33:17.974" v="3644" actId="20577"/>
          <ac:spMkLst>
            <pc:docMk/>
            <pc:sldMk cId="1846322232" sldId="2141411885"/>
            <ac:spMk id="6" creationId="{6A28243B-A675-CE1C-D8C4-278C453900C3}"/>
          </ac:spMkLst>
        </pc:spChg>
        <pc:spChg chg="mod">
          <ac:chgData name="Gasteiger, Cassidy M" userId="49e4247d-81de-4625-ae16-f189e0b7e529" providerId="ADAL" clId="{3FA7B295-9721-4859-B4C7-15ADCB262973}" dt="2023-04-17T06:33:11.003" v="3630" actId="1036"/>
          <ac:spMkLst>
            <pc:docMk/>
            <pc:sldMk cId="1846322232" sldId="2141411885"/>
            <ac:spMk id="13" creationId="{B525A061-7F30-F895-96F9-53F4775D190A}"/>
          </ac:spMkLst>
        </pc:spChg>
        <pc:spChg chg="mod">
          <ac:chgData name="Gasteiger, Cassidy M" userId="49e4247d-81de-4625-ae16-f189e0b7e529" providerId="ADAL" clId="{3FA7B295-9721-4859-B4C7-15ADCB262973}" dt="2023-04-17T06:33:11.003" v="3630" actId="1036"/>
          <ac:spMkLst>
            <pc:docMk/>
            <pc:sldMk cId="1846322232" sldId="2141411885"/>
            <ac:spMk id="17" creationId="{6C53A388-7C97-84D7-5083-0143E61503A6}"/>
          </ac:spMkLst>
        </pc:spChg>
        <pc:spChg chg="mod">
          <ac:chgData name="Gasteiger, Cassidy M" userId="49e4247d-81de-4625-ae16-f189e0b7e529" providerId="ADAL" clId="{3FA7B295-9721-4859-B4C7-15ADCB262973}" dt="2023-04-17T06:33:11.003" v="3630" actId="1036"/>
          <ac:spMkLst>
            <pc:docMk/>
            <pc:sldMk cId="1846322232" sldId="2141411885"/>
            <ac:spMk id="18" creationId="{35874117-060F-7BFB-BB14-5F2BF569F9FE}"/>
          </ac:spMkLst>
        </pc:spChg>
        <pc:spChg chg="del mod">
          <ac:chgData name="Gasteiger, Cassidy M" userId="49e4247d-81de-4625-ae16-f189e0b7e529" providerId="ADAL" clId="{3FA7B295-9721-4859-B4C7-15ADCB262973}" dt="2023-04-17T06:30:45.994" v="3551" actId="478"/>
          <ac:spMkLst>
            <pc:docMk/>
            <pc:sldMk cId="1846322232" sldId="2141411885"/>
            <ac:spMk id="19" creationId="{365BA578-741C-1B22-8C13-B6E70BBC79A0}"/>
          </ac:spMkLst>
        </pc:spChg>
        <pc:spChg chg="mod">
          <ac:chgData name="Gasteiger, Cassidy M" userId="49e4247d-81de-4625-ae16-f189e0b7e529" providerId="ADAL" clId="{3FA7B295-9721-4859-B4C7-15ADCB262973}" dt="2023-04-17T06:33:11.003" v="3630" actId="1036"/>
          <ac:spMkLst>
            <pc:docMk/>
            <pc:sldMk cId="1846322232" sldId="2141411885"/>
            <ac:spMk id="25" creationId="{E0EF1FE2-F640-022A-FF24-F03843A78742}"/>
          </ac:spMkLst>
        </pc:spChg>
      </pc:sldChg>
      <pc:sldChg chg="addSp delSp modSp add mod">
        <pc:chgData name="Gasteiger, Cassidy M" userId="49e4247d-81de-4625-ae16-f189e0b7e529" providerId="ADAL" clId="{3FA7B295-9721-4859-B4C7-15ADCB262973}" dt="2023-04-19T23:12:36.319" v="4492" actId="20577"/>
        <pc:sldMkLst>
          <pc:docMk/>
          <pc:sldMk cId="3763876104" sldId="2141411886"/>
        </pc:sldMkLst>
        <pc:spChg chg="add mod">
          <ac:chgData name="Gasteiger, Cassidy M" userId="49e4247d-81de-4625-ae16-f189e0b7e529" providerId="ADAL" clId="{3FA7B295-9721-4859-B4C7-15ADCB262973}" dt="2023-04-19T23:12:28.533" v="4491" actId="20577"/>
          <ac:spMkLst>
            <pc:docMk/>
            <pc:sldMk cId="3763876104" sldId="2141411886"/>
            <ac:spMk id="2" creationId="{6D1DE588-59DB-846C-59C0-CB4CBD7BA63A}"/>
          </ac:spMkLst>
        </pc:spChg>
        <pc:spChg chg="add mod">
          <ac:chgData name="Gasteiger, Cassidy M" userId="49e4247d-81de-4625-ae16-f189e0b7e529" providerId="ADAL" clId="{3FA7B295-9721-4859-B4C7-15ADCB262973}" dt="2023-04-17T15:18:52.335" v="3678" actId="1076"/>
          <ac:spMkLst>
            <pc:docMk/>
            <pc:sldMk cId="3763876104" sldId="2141411886"/>
            <ac:spMk id="4" creationId="{45AC09B3-C2EB-357E-F2C4-0A3A1AA515C1}"/>
          </ac:spMkLst>
        </pc:spChg>
        <pc:spChg chg="add mod">
          <ac:chgData name="Gasteiger, Cassidy M" userId="49e4247d-81de-4625-ae16-f189e0b7e529" providerId="ADAL" clId="{3FA7B295-9721-4859-B4C7-15ADCB262973}" dt="2023-04-19T23:12:36.319" v="4492" actId="20577"/>
          <ac:spMkLst>
            <pc:docMk/>
            <pc:sldMk cId="3763876104" sldId="2141411886"/>
            <ac:spMk id="6" creationId="{36AE40E7-33A8-8AE0-ACCA-9F5B92DBFF39}"/>
          </ac:spMkLst>
        </pc:spChg>
        <pc:spChg chg="add del mod">
          <ac:chgData name="Gasteiger, Cassidy M" userId="49e4247d-81de-4625-ae16-f189e0b7e529" providerId="ADAL" clId="{3FA7B295-9721-4859-B4C7-15ADCB262973}" dt="2023-04-17T15:18:52.335" v="3678" actId="1076"/>
          <ac:spMkLst>
            <pc:docMk/>
            <pc:sldMk cId="3763876104" sldId="2141411886"/>
            <ac:spMk id="7" creationId="{AA8AFE77-CD8A-4B38-6530-41AF46163D2E}"/>
          </ac:spMkLst>
        </pc:spChg>
        <pc:spChg chg="add mod">
          <ac:chgData name="Gasteiger, Cassidy M" userId="49e4247d-81de-4625-ae16-f189e0b7e529" providerId="ADAL" clId="{3FA7B295-9721-4859-B4C7-15ADCB262973}" dt="2023-04-17T15:18:52.335" v="3678" actId="1076"/>
          <ac:spMkLst>
            <pc:docMk/>
            <pc:sldMk cId="3763876104" sldId="2141411886"/>
            <ac:spMk id="8" creationId="{41390ECC-5CB9-384E-028B-EE804526AE50}"/>
          </ac:spMkLst>
        </pc:spChg>
        <pc:spChg chg="mod">
          <ac:chgData name="Gasteiger, Cassidy M" userId="49e4247d-81de-4625-ae16-f189e0b7e529" providerId="ADAL" clId="{3FA7B295-9721-4859-B4C7-15ADCB262973}" dt="2023-04-17T15:18:43.478" v="3677" actId="1076"/>
          <ac:spMkLst>
            <pc:docMk/>
            <pc:sldMk cId="3763876104" sldId="2141411886"/>
            <ac:spMk id="235" creationId="{00000000-0000-0000-0000-000000000000}"/>
          </ac:spMkLst>
        </pc:spChg>
        <pc:grpChg chg="del">
          <ac:chgData name="Gasteiger, Cassidy M" userId="49e4247d-81de-4625-ae16-f189e0b7e529" providerId="ADAL" clId="{3FA7B295-9721-4859-B4C7-15ADCB262973}" dt="2023-04-17T15:18:23.510" v="3670" actId="478"/>
          <ac:grpSpMkLst>
            <pc:docMk/>
            <pc:sldMk cId="3763876104" sldId="2141411886"/>
            <ac:grpSpMk id="305" creationId="{BB29FB33-1053-05CD-0FA9-D7134C2D8D25}"/>
          </ac:grpSpMkLst>
        </pc:grpChg>
        <pc:grpChg chg="del">
          <ac:chgData name="Gasteiger, Cassidy M" userId="49e4247d-81de-4625-ae16-f189e0b7e529" providerId="ADAL" clId="{3FA7B295-9721-4859-B4C7-15ADCB262973}" dt="2023-04-17T15:18:23.510" v="3670" actId="478"/>
          <ac:grpSpMkLst>
            <pc:docMk/>
            <pc:sldMk cId="3763876104" sldId="2141411886"/>
            <ac:grpSpMk id="325" creationId="{0590AA4B-1AA0-9F26-B6AA-C3D97A862359}"/>
          </ac:grpSpMkLst>
        </pc:grpChg>
        <pc:grpChg chg="del">
          <ac:chgData name="Gasteiger, Cassidy M" userId="49e4247d-81de-4625-ae16-f189e0b7e529" providerId="ADAL" clId="{3FA7B295-9721-4859-B4C7-15ADCB262973}" dt="2023-04-17T15:18:23.510" v="3670" actId="478"/>
          <ac:grpSpMkLst>
            <pc:docMk/>
            <pc:sldMk cId="3763876104" sldId="2141411886"/>
            <ac:grpSpMk id="326" creationId="{66C7B744-E904-01C8-8A09-A0BC0E26113B}"/>
          </ac:grpSpMkLst>
        </pc:grpChg>
        <pc:grpChg chg="del">
          <ac:chgData name="Gasteiger, Cassidy M" userId="49e4247d-81de-4625-ae16-f189e0b7e529" providerId="ADAL" clId="{3FA7B295-9721-4859-B4C7-15ADCB262973}" dt="2023-04-17T15:18:23.510" v="3670" actId="478"/>
          <ac:grpSpMkLst>
            <pc:docMk/>
            <pc:sldMk cId="3763876104" sldId="2141411886"/>
            <ac:grpSpMk id="327" creationId="{34D43A3A-0294-B624-24C7-D524D61A893C}"/>
          </ac:grpSpMkLst>
        </pc:grpChg>
        <pc:picChg chg="del">
          <ac:chgData name="Gasteiger, Cassidy M" userId="49e4247d-81de-4625-ae16-f189e0b7e529" providerId="ADAL" clId="{3FA7B295-9721-4859-B4C7-15ADCB262973}" dt="2023-04-17T15:18:23.510" v="3670" actId="478"/>
          <ac:picMkLst>
            <pc:docMk/>
            <pc:sldMk cId="3763876104" sldId="2141411886"/>
            <ac:picMk id="308" creationId="{3F846FA8-85C1-AB5A-7892-7E0E7ED17B7F}"/>
          </ac:picMkLst>
        </pc:picChg>
        <pc:picChg chg="del">
          <ac:chgData name="Gasteiger, Cassidy M" userId="49e4247d-81de-4625-ae16-f189e0b7e529" providerId="ADAL" clId="{3FA7B295-9721-4859-B4C7-15ADCB262973}" dt="2023-04-17T15:18:23.510" v="3670" actId="478"/>
          <ac:picMkLst>
            <pc:docMk/>
            <pc:sldMk cId="3763876104" sldId="2141411886"/>
            <ac:picMk id="323" creationId="{FB80E95B-9089-00F6-C3DB-AD4B7DA5485C}"/>
          </ac:picMkLst>
        </pc:picChg>
      </pc:sldChg>
    </pc:docChg>
  </pc:docChgLst>
  <pc:docChgLst>
    <pc:chgData name="Gasteiger, Cassidy M" userId="49e4247d-81de-4625-ae16-f189e0b7e529" providerId="ADAL" clId="{EFB976C6-EC52-4602-90C8-86B8954E5255}"/>
    <pc:docChg chg="undo redo custSel addSld delSld modSld sldOrd modMainMaster delSection modSection">
      <pc:chgData name="Gasteiger, Cassidy M" userId="49e4247d-81de-4625-ae16-f189e0b7e529" providerId="ADAL" clId="{EFB976C6-EC52-4602-90C8-86B8954E5255}" dt="2023-03-31T16:52:04.986" v="41701" actId="1076"/>
      <pc:docMkLst>
        <pc:docMk/>
      </pc:docMkLst>
      <pc:sldChg chg="addSp delSp modSp mod ord delAnim">
        <pc:chgData name="Gasteiger, Cassidy M" userId="49e4247d-81de-4625-ae16-f189e0b7e529" providerId="ADAL" clId="{EFB976C6-EC52-4602-90C8-86B8954E5255}" dt="2023-03-31T16:50:43.852" v="41690" actId="20577"/>
        <pc:sldMkLst>
          <pc:docMk/>
          <pc:sldMk cId="0" sldId="256"/>
        </pc:sldMkLst>
        <pc:spChg chg="mod">
          <ac:chgData name="Gasteiger, Cassidy M" userId="49e4247d-81de-4625-ae16-f189e0b7e529" providerId="ADAL" clId="{EFB976C6-EC52-4602-90C8-86B8954E5255}" dt="2023-03-20T20:33:59.357" v="254" actId="207"/>
          <ac:spMkLst>
            <pc:docMk/>
            <pc:sldMk cId="0" sldId="256"/>
            <ac:spMk id="3" creationId="{82877C81-1768-AE65-9675-B8ACC5CB9ADE}"/>
          </ac:spMkLst>
        </pc:spChg>
        <pc:spChg chg="mod">
          <ac:chgData name="Gasteiger, Cassidy M" userId="49e4247d-81de-4625-ae16-f189e0b7e529" providerId="ADAL" clId="{EFB976C6-EC52-4602-90C8-86B8954E5255}" dt="2023-03-20T20:34:14.121" v="256" actId="207"/>
          <ac:spMkLst>
            <pc:docMk/>
            <pc:sldMk cId="0" sldId="256"/>
            <ac:spMk id="4" creationId="{D5E05F3A-6418-D4A8-37B5-811558D136D7}"/>
          </ac:spMkLst>
        </pc:spChg>
        <pc:spChg chg="mod">
          <ac:chgData name="Gasteiger, Cassidy M" userId="49e4247d-81de-4625-ae16-f189e0b7e529" providerId="ADAL" clId="{EFB976C6-EC52-4602-90C8-86B8954E5255}" dt="2023-03-20T20:34:32.576" v="259" actId="207"/>
          <ac:spMkLst>
            <pc:docMk/>
            <pc:sldMk cId="0" sldId="256"/>
            <ac:spMk id="5" creationId="{819D2487-4042-CFF9-0EAE-C22391425178}"/>
          </ac:spMkLst>
        </pc:spChg>
        <pc:spChg chg="mod">
          <ac:chgData name="Gasteiger, Cassidy M" userId="49e4247d-81de-4625-ae16-f189e0b7e529" providerId="ADAL" clId="{EFB976C6-EC52-4602-90C8-86B8954E5255}" dt="2023-03-20T20:35:23.658" v="271" actId="207"/>
          <ac:spMkLst>
            <pc:docMk/>
            <pc:sldMk cId="0" sldId="256"/>
            <ac:spMk id="6" creationId="{58F53384-7B95-863C-D84A-8ABF3C5A083E}"/>
          </ac:spMkLst>
        </pc:spChg>
        <pc:spChg chg="mod">
          <ac:chgData name="Gasteiger, Cassidy M" userId="49e4247d-81de-4625-ae16-f189e0b7e529" providerId="ADAL" clId="{EFB976C6-EC52-4602-90C8-86B8954E5255}" dt="2023-03-20T20:35:14.508" v="270" actId="207"/>
          <ac:spMkLst>
            <pc:docMk/>
            <pc:sldMk cId="0" sldId="256"/>
            <ac:spMk id="7" creationId="{E9B4D28E-E39F-55CA-9F70-9DD43A916959}"/>
          </ac:spMkLst>
        </pc:spChg>
        <pc:spChg chg="mod">
          <ac:chgData name="Gasteiger, Cassidy M" userId="49e4247d-81de-4625-ae16-f189e0b7e529" providerId="ADAL" clId="{EFB976C6-EC52-4602-90C8-86B8954E5255}" dt="2023-03-20T20:34:45.769" v="268"/>
          <ac:spMkLst>
            <pc:docMk/>
            <pc:sldMk cId="0" sldId="256"/>
            <ac:spMk id="8" creationId="{A1AEDAB0-760B-E6F0-05D4-25AF9701C975}"/>
          </ac:spMkLst>
        </pc:spChg>
        <pc:spChg chg="mod">
          <ac:chgData name="Gasteiger, Cassidy M" userId="49e4247d-81de-4625-ae16-f189e0b7e529" providerId="ADAL" clId="{EFB976C6-EC52-4602-90C8-86B8954E5255}" dt="2023-03-20T20:34:38.183" v="267" actId="20577"/>
          <ac:spMkLst>
            <pc:docMk/>
            <pc:sldMk cId="0" sldId="256"/>
            <ac:spMk id="9" creationId="{689378BA-3CB1-31D3-2000-0840C6A1F92C}"/>
          </ac:spMkLst>
        </pc:spChg>
        <pc:spChg chg="mod">
          <ac:chgData name="Gasteiger, Cassidy M" userId="49e4247d-81de-4625-ae16-f189e0b7e529" providerId="ADAL" clId="{EFB976C6-EC52-4602-90C8-86B8954E5255}" dt="2023-03-20T20:35:24.900" v="272"/>
          <ac:spMkLst>
            <pc:docMk/>
            <pc:sldMk cId="0" sldId="256"/>
            <ac:spMk id="10" creationId="{DA315713-D40B-1C83-4371-1F3EDDC7AE7A}"/>
          </ac:spMkLst>
        </pc:spChg>
        <pc:spChg chg="mod">
          <ac:chgData name="Gasteiger, Cassidy M" userId="49e4247d-81de-4625-ae16-f189e0b7e529" providerId="ADAL" clId="{EFB976C6-EC52-4602-90C8-86B8954E5255}" dt="2023-03-31T16:50:41.560" v="41688" actId="20577"/>
          <ac:spMkLst>
            <pc:docMk/>
            <pc:sldMk cId="0" sldId="256"/>
            <ac:spMk id="185" creationId="{00000000-0000-0000-0000-000000000000}"/>
          </ac:spMkLst>
        </pc:spChg>
        <pc:spChg chg="mod">
          <ac:chgData name="Gasteiger, Cassidy M" userId="49e4247d-81de-4625-ae16-f189e0b7e529" providerId="ADAL" clId="{EFB976C6-EC52-4602-90C8-86B8954E5255}" dt="2023-03-31T16:50:43.852" v="41690" actId="20577"/>
          <ac:spMkLst>
            <pc:docMk/>
            <pc:sldMk cId="0" sldId="256"/>
            <ac:spMk id="186" creationId="{00000000-0000-0000-0000-000000000000}"/>
          </ac:spMkLst>
        </pc:spChg>
        <pc:grpChg chg="del mod">
          <ac:chgData name="Gasteiger, Cassidy M" userId="49e4247d-81de-4625-ae16-f189e0b7e529" providerId="ADAL" clId="{EFB976C6-EC52-4602-90C8-86B8954E5255}" dt="2023-03-31T02:46:02.969" v="40996" actId="478"/>
          <ac:grpSpMkLst>
            <pc:docMk/>
            <pc:sldMk cId="0" sldId="256"/>
            <ac:grpSpMk id="14" creationId="{AE704C89-6D7C-0FD3-0CC7-1B4B53794572}"/>
          </ac:grpSpMkLst>
        </pc:grpChg>
        <pc:grpChg chg="del mod">
          <ac:chgData name="Gasteiger, Cassidy M" userId="49e4247d-81de-4625-ae16-f189e0b7e529" providerId="ADAL" clId="{EFB976C6-EC52-4602-90C8-86B8954E5255}" dt="2023-03-31T02:46:02.969" v="40996" actId="478"/>
          <ac:grpSpMkLst>
            <pc:docMk/>
            <pc:sldMk cId="0" sldId="256"/>
            <ac:grpSpMk id="15" creationId="{68BD82F8-2DCE-B334-70F4-9CA2B6CFCE12}"/>
          </ac:grpSpMkLst>
        </pc:grpChg>
        <pc:grpChg chg="del mod">
          <ac:chgData name="Gasteiger, Cassidy M" userId="49e4247d-81de-4625-ae16-f189e0b7e529" providerId="ADAL" clId="{EFB976C6-EC52-4602-90C8-86B8954E5255}" dt="2023-03-31T02:46:02.969" v="40996" actId="478"/>
          <ac:grpSpMkLst>
            <pc:docMk/>
            <pc:sldMk cId="0" sldId="256"/>
            <ac:grpSpMk id="16" creationId="{9B43AA2B-5DB9-0924-09A9-ED6B347730C4}"/>
          </ac:grpSpMkLst>
        </pc:grpChg>
        <pc:grpChg chg="del mod">
          <ac:chgData name="Gasteiger, Cassidy M" userId="49e4247d-81de-4625-ae16-f189e0b7e529" providerId="ADAL" clId="{EFB976C6-EC52-4602-90C8-86B8954E5255}" dt="2023-03-31T02:46:02.969" v="40996" actId="478"/>
          <ac:grpSpMkLst>
            <pc:docMk/>
            <pc:sldMk cId="0" sldId="256"/>
            <ac:grpSpMk id="17" creationId="{BAD26CFF-CA73-DACD-9C4E-7EFEC56F9162}"/>
          </ac:grpSpMkLst>
        </pc:grpChg>
        <pc:picChg chg="add mod">
          <ac:chgData name="Gasteiger, Cassidy M" userId="49e4247d-81de-4625-ae16-f189e0b7e529" providerId="ADAL" clId="{EFB976C6-EC52-4602-90C8-86B8954E5255}" dt="2023-03-20T20:35:40.488" v="277" actId="1076"/>
          <ac:picMkLst>
            <pc:docMk/>
            <pc:sldMk cId="0" sldId="256"/>
            <ac:picMk id="2" creationId="{8FC0A5E1-EF41-8F5A-2800-FD045EB55D85}"/>
          </ac:picMkLst>
        </pc:picChg>
        <pc:picChg chg="del mod">
          <ac:chgData name="Gasteiger, Cassidy M" userId="49e4247d-81de-4625-ae16-f189e0b7e529" providerId="ADAL" clId="{EFB976C6-EC52-4602-90C8-86B8954E5255}" dt="2023-03-20T18:12:34.781" v="2" actId="478"/>
          <ac:picMkLst>
            <pc:docMk/>
            <pc:sldMk cId="0" sldId="256"/>
            <ac:picMk id="11" creationId="{0560567D-91EE-D6CD-D510-7702C2F83ADD}"/>
          </ac:picMkLst>
        </pc:picChg>
        <pc:picChg chg="add del mod">
          <ac:chgData name="Gasteiger, Cassidy M" userId="49e4247d-81de-4625-ae16-f189e0b7e529" providerId="ADAL" clId="{EFB976C6-EC52-4602-90C8-86B8954E5255}" dt="2023-03-20T20:34:16.081" v="257" actId="478"/>
          <ac:picMkLst>
            <pc:docMk/>
            <pc:sldMk cId="0" sldId="256"/>
            <ac:picMk id="13" creationId="{D49C82BE-C72F-A79A-9D3C-A845FBDE704C}"/>
          </ac:picMkLst>
        </pc:picChg>
        <pc:picChg chg="del">
          <ac:chgData name="Gasteiger, Cassidy M" userId="49e4247d-81de-4625-ae16-f189e0b7e529" providerId="ADAL" clId="{EFB976C6-EC52-4602-90C8-86B8954E5255}" dt="2023-03-20T20:34:20.693" v="258" actId="478"/>
          <ac:picMkLst>
            <pc:docMk/>
            <pc:sldMk cId="0" sldId="256"/>
            <ac:picMk id="1026" creationId="{3BF20C40-411D-FA7A-EF29-6ACEE75B5203}"/>
          </ac:picMkLst>
        </pc:picChg>
      </pc:sldChg>
      <pc:sldChg chg="addSp delSp modSp del mod delAnim modNotesTx">
        <pc:chgData name="Gasteiger, Cassidy M" userId="49e4247d-81de-4625-ae16-f189e0b7e529" providerId="ADAL" clId="{EFB976C6-EC52-4602-90C8-86B8954E5255}" dt="2023-03-29T02:54:25.637" v="10799" actId="2696"/>
        <pc:sldMkLst>
          <pc:docMk/>
          <pc:sldMk cId="2664608548" sldId="310"/>
        </pc:sldMkLst>
        <pc:spChg chg="mod">
          <ac:chgData name="Gasteiger, Cassidy M" userId="49e4247d-81de-4625-ae16-f189e0b7e529" providerId="ADAL" clId="{EFB976C6-EC52-4602-90C8-86B8954E5255}" dt="2023-03-20T21:03:12.874" v="375" actId="113"/>
          <ac:spMkLst>
            <pc:docMk/>
            <pc:sldMk cId="2664608548" sldId="310"/>
            <ac:spMk id="2" creationId="{7991CBF2-5644-51E1-030A-94E5C9EBBE34}"/>
          </ac:spMkLst>
        </pc:spChg>
        <pc:spChg chg="mod">
          <ac:chgData name="Gasteiger, Cassidy M" userId="49e4247d-81de-4625-ae16-f189e0b7e529" providerId="ADAL" clId="{EFB976C6-EC52-4602-90C8-86B8954E5255}" dt="2023-03-20T21:02:44.687" v="339" actId="207"/>
          <ac:spMkLst>
            <pc:docMk/>
            <pc:sldMk cId="2664608548" sldId="310"/>
            <ac:spMk id="5" creationId="{34440489-0F6D-C0E8-855C-0BF1D3A29EE1}"/>
          </ac:spMkLst>
        </pc:spChg>
        <pc:spChg chg="mod">
          <ac:chgData name="Gasteiger, Cassidy M" userId="49e4247d-81de-4625-ae16-f189e0b7e529" providerId="ADAL" clId="{EFB976C6-EC52-4602-90C8-86B8954E5255}" dt="2023-03-20T21:02:48.285" v="340" actId="207"/>
          <ac:spMkLst>
            <pc:docMk/>
            <pc:sldMk cId="2664608548" sldId="310"/>
            <ac:spMk id="6" creationId="{2489E511-3ECD-41F5-77EF-3F04CACC95A3}"/>
          </ac:spMkLst>
        </pc:spChg>
        <pc:spChg chg="mod">
          <ac:chgData name="Gasteiger, Cassidy M" userId="49e4247d-81de-4625-ae16-f189e0b7e529" providerId="ADAL" clId="{EFB976C6-EC52-4602-90C8-86B8954E5255}" dt="2023-03-20T20:36:49.409" v="285"/>
          <ac:spMkLst>
            <pc:docMk/>
            <pc:sldMk cId="2664608548" sldId="310"/>
            <ac:spMk id="8" creationId="{7171A1BF-C37D-7AD1-13EB-CCBF2E885811}"/>
          </ac:spMkLst>
        </pc:spChg>
        <pc:spChg chg="mod">
          <ac:chgData name="Gasteiger, Cassidy M" userId="49e4247d-81de-4625-ae16-f189e0b7e529" providerId="ADAL" clId="{EFB976C6-EC52-4602-90C8-86B8954E5255}" dt="2023-03-20T20:36:49.409" v="285"/>
          <ac:spMkLst>
            <pc:docMk/>
            <pc:sldMk cId="2664608548" sldId="310"/>
            <ac:spMk id="10" creationId="{2DC63882-6B8F-F995-A33B-D1DB39EF01BD}"/>
          </ac:spMkLst>
        </pc:spChg>
        <pc:spChg chg="mod">
          <ac:chgData name="Gasteiger, Cassidy M" userId="49e4247d-81de-4625-ae16-f189e0b7e529" providerId="ADAL" clId="{EFB976C6-EC52-4602-90C8-86B8954E5255}" dt="2023-03-20T20:36:49.409" v="285"/>
          <ac:spMkLst>
            <pc:docMk/>
            <pc:sldMk cId="2664608548" sldId="310"/>
            <ac:spMk id="12" creationId="{31FBC0FC-E9C9-2A44-6F53-BADEE47F1DB0}"/>
          </ac:spMkLst>
        </pc:spChg>
        <pc:spChg chg="mod">
          <ac:chgData name="Gasteiger, Cassidy M" userId="49e4247d-81de-4625-ae16-f189e0b7e529" providerId="ADAL" clId="{EFB976C6-EC52-4602-90C8-86B8954E5255}" dt="2023-03-20T20:36:49.409" v="285"/>
          <ac:spMkLst>
            <pc:docMk/>
            <pc:sldMk cId="2664608548" sldId="310"/>
            <ac:spMk id="13" creationId="{DA45410C-ABE8-990B-FAF4-6DAA11420E19}"/>
          </ac:spMkLst>
        </pc:spChg>
        <pc:spChg chg="mod">
          <ac:chgData name="Gasteiger, Cassidy M" userId="49e4247d-81de-4625-ae16-f189e0b7e529" providerId="ADAL" clId="{EFB976C6-EC52-4602-90C8-86B8954E5255}" dt="2023-03-20T20:36:49.409" v="285"/>
          <ac:spMkLst>
            <pc:docMk/>
            <pc:sldMk cId="2664608548" sldId="310"/>
            <ac:spMk id="15" creationId="{8DC1350A-3A83-97B2-5144-7B2C8310F465}"/>
          </ac:spMkLst>
        </pc:spChg>
        <pc:spChg chg="mod">
          <ac:chgData name="Gasteiger, Cassidy M" userId="49e4247d-81de-4625-ae16-f189e0b7e529" providerId="ADAL" clId="{EFB976C6-EC52-4602-90C8-86B8954E5255}" dt="2023-03-20T20:36:49.409" v="285"/>
          <ac:spMkLst>
            <pc:docMk/>
            <pc:sldMk cId="2664608548" sldId="310"/>
            <ac:spMk id="16" creationId="{EB57253A-C8CA-8AFA-530B-9C75D51441E0}"/>
          </ac:spMkLst>
        </pc:spChg>
        <pc:spChg chg="mod">
          <ac:chgData name="Gasteiger, Cassidy M" userId="49e4247d-81de-4625-ae16-f189e0b7e529" providerId="ADAL" clId="{EFB976C6-EC52-4602-90C8-86B8954E5255}" dt="2023-03-20T20:36:49.409" v="285"/>
          <ac:spMkLst>
            <pc:docMk/>
            <pc:sldMk cId="2664608548" sldId="310"/>
            <ac:spMk id="18" creationId="{3F3E36C7-BC70-0988-4B45-5137CA0A4E12}"/>
          </ac:spMkLst>
        </pc:spChg>
        <pc:spChg chg="mod">
          <ac:chgData name="Gasteiger, Cassidy M" userId="49e4247d-81de-4625-ae16-f189e0b7e529" providerId="ADAL" clId="{EFB976C6-EC52-4602-90C8-86B8954E5255}" dt="2023-03-20T20:36:49.409" v="285"/>
          <ac:spMkLst>
            <pc:docMk/>
            <pc:sldMk cId="2664608548" sldId="310"/>
            <ac:spMk id="19" creationId="{11BBB301-8499-A3D0-C99D-BD87B4B05FBA}"/>
          </ac:spMkLst>
        </pc:spChg>
        <pc:spChg chg="add del mod ord">
          <ac:chgData name="Gasteiger, Cassidy M" userId="49e4247d-81de-4625-ae16-f189e0b7e529" providerId="ADAL" clId="{EFB976C6-EC52-4602-90C8-86B8954E5255}" dt="2023-03-26T04:08:28.757" v="1436" actId="478"/>
          <ac:spMkLst>
            <pc:docMk/>
            <pc:sldMk cId="2664608548" sldId="310"/>
            <ac:spMk id="22" creationId="{603BA342-1044-8BA7-665F-A24A1B2ACFC0}"/>
          </ac:spMkLst>
        </pc:spChg>
        <pc:spChg chg="add del mod">
          <ac:chgData name="Gasteiger, Cassidy M" userId="49e4247d-81de-4625-ae16-f189e0b7e529" providerId="ADAL" clId="{EFB976C6-EC52-4602-90C8-86B8954E5255}" dt="2023-03-26T04:08:28.757" v="1436" actId="478"/>
          <ac:spMkLst>
            <pc:docMk/>
            <pc:sldMk cId="2664608548" sldId="310"/>
            <ac:spMk id="23" creationId="{B14EC689-02E2-1ECC-B4BE-EC480CE537AE}"/>
          </ac:spMkLst>
        </pc:spChg>
        <pc:spChg chg="add del mod ord">
          <ac:chgData name="Gasteiger, Cassidy M" userId="49e4247d-81de-4625-ae16-f189e0b7e529" providerId="ADAL" clId="{EFB976C6-EC52-4602-90C8-86B8954E5255}" dt="2023-03-26T04:08:28.757" v="1436" actId="478"/>
          <ac:spMkLst>
            <pc:docMk/>
            <pc:sldMk cId="2664608548" sldId="310"/>
            <ac:spMk id="24" creationId="{FC5C1312-5075-F7A6-6870-7B289008BD68}"/>
          </ac:spMkLst>
        </pc:spChg>
        <pc:spChg chg="add del mod">
          <ac:chgData name="Gasteiger, Cassidy M" userId="49e4247d-81de-4625-ae16-f189e0b7e529" providerId="ADAL" clId="{EFB976C6-EC52-4602-90C8-86B8954E5255}" dt="2023-03-26T04:10:08.360" v="1517"/>
          <ac:spMkLst>
            <pc:docMk/>
            <pc:sldMk cId="2664608548" sldId="310"/>
            <ac:spMk id="25" creationId="{2E0D903B-725B-4D2D-5CFE-54545FD800C1}"/>
          </ac:spMkLst>
        </pc:spChg>
        <pc:spChg chg="add del mod">
          <ac:chgData name="Gasteiger, Cassidy M" userId="49e4247d-81de-4625-ae16-f189e0b7e529" providerId="ADAL" clId="{EFB976C6-EC52-4602-90C8-86B8954E5255}" dt="2023-03-26T04:10:08.360" v="1517"/>
          <ac:spMkLst>
            <pc:docMk/>
            <pc:sldMk cId="2664608548" sldId="310"/>
            <ac:spMk id="26" creationId="{91818A66-791E-B98E-CD02-2C1915BE5F8B}"/>
          </ac:spMkLst>
        </pc:spChg>
        <pc:spChg chg="add del mod">
          <ac:chgData name="Gasteiger, Cassidy M" userId="49e4247d-81de-4625-ae16-f189e0b7e529" providerId="ADAL" clId="{EFB976C6-EC52-4602-90C8-86B8954E5255}" dt="2023-03-26T04:10:08.360" v="1517"/>
          <ac:spMkLst>
            <pc:docMk/>
            <pc:sldMk cId="2664608548" sldId="310"/>
            <ac:spMk id="28" creationId="{203E6C45-F3FB-E1B3-E012-5E65E40DCCF6}"/>
          </ac:spMkLst>
        </pc:spChg>
        <pc:spChg chg="add mod">
          <ac:chgData name="Gasteiger, Cassidy M" userId="49e4247d-81de-4625-ae16-f189e0b7e529" providerId="ADAL" clId="{EFB976C6-EC52-4602-90C8-86B8954E5255}" dt="2023-03-27T21:07:52.156" v="4841"/>
          <ac:spMkLst>
            <pc:docMk/>
            <pc:sldMk cId="2664608548" sldId="310"/>
            <ac:spMk id="29" creationId="{D1BAC0CB-4ECA-3148-21B9-D169B42D3FE7}"/>
          </ac:spMkLst>
        </pc:spChg>
        <pc:spChg chg="add mod">
          <ac:chgData name="Gasteiger, Cassidy M" userId="49e4247d-81de-4625-ae16-f189e0b7e529" providerId="ADAL" clId="{EFB976C6-EC52-4602-90C8-86B8954E5255}" dt="2023-03-27T21:07:52.156" v="4841"/>
          <ac:spMkLst>
            <pc:docMk/>
            <pc:sldMk cId="2664608548" sldId="310"/>
            <ac:spMk id="30" creationId="{9890CA8B-87FB-A642-4BAA-694B021185DC}"/>
          </ac:spMkLst>
        </pc:spChg>
        <pc:spChg chg="add mod">
          <ac:chgData name="Gasteiger, Cassidy M" userId="49e4247d-81de-4625-ae16-f189e0b7e529" providerId="ADAL" clId="{EFB976C6-EC52-4602-90C8-86B8954E5255}" dt="2023-03-27T21:07:58.595" v="4842"/>
          <ac:spMkLst>
            <pc:docMk/>
            <pc:sldMk cId="2664608548" sldId="310"/>
            <ac:spMk id="32" creationId="{C8988E24-D833-2FC1-4245-22640FC60EB5}"/>
          </ac:spMkLst>
        </pc:spChg>
        <pc:spChg chg="mod">
          <ac:chgData name="Gasteiger, Cassidy M" userId="49e4247d-81de-4625-ae16-f189e0b7e529" providerId="ADAL" clId="{EFB976C6-EC52-4602-90C8-86B8954E5255}" dt="2023-03-26T03:01:08.671" v="491" actId="207"/>
          <ac:spMkLst>
            <pc:docMk/>
            <pc:sldMk cId="2664608548" sldId="310"/>
            <ac:spMk id="42" creationId="{6570CBA1-9449-7897-6C31-906A1B78D376}"/>
          </ac:spMkLst>
        </pc:spChg>
        <pc:spChg chg="mod">
          <ac:chgData name="Gasteiger, Cassidy M" userId="49e4247d-81de-4625-ae16-f189e0b7e529" providerId="ADAL" clId="{EFB976C6-EC52-4602-90C8-86B8954E5255}" dt="2023-03-20T21:02:55.527" v="357" actId="20577"/>
          <ac:spMkLst>
            <pc:docMk/>
            <pc:sldMk cId="2664608548" sldId="310"/>
            <ac:spMk id="51" creationId="{E68F548E-7DCF-B67A-6944-31B7BF3BFA77}"/>
          </ac:spMkLst>
        </pc:spChg>
        <pc:spChg chg="mod">
          <ac:chgData name="Gasteiger, Cassidy M" userId="49e4247d-81de-4625-ae16-f189e0b7e529" providerId="ADAL" clId="{EFB976C6-EC52-4602-90C8-86B8954E5255}" dt="2023-03-20T21:03:06.650" v="374" actId="20577"/>
          <ac:spMkLst>
            <pc:docMk/>
            <pc:sldMk cId="2664608548" sldId="310"/>
            <ac:spMk id="53" creationId="{4F0859B1-0A60-54BF-D8CA-DF7937AD5B93}"/>
          </ac:spMkLst>
        </pc:spChg>
        <pc:spChg chg="mod">
          <ac:chgData name="Gasteiger, Cassidy M" userId="49e4247d-81de-4625-ae16-f189e0b7e529" providerId="ADAL" clId="{EFB976C6-EC52-4602-90C8-86B8954E5255}" dt="2023-03-20T21:06:06.328" v="412" actId="20577"/>
          <ac:spMkLst>
            <pc:docMk/>
            <pc:sldMk cId="2664608548" sldId="310"/>
            <ac:spMk id="235" creationId="{00000000-0000-0000-0000-000000000000}"/>
          </ac:spMkLst>
        </pc:spChg>
        <pc:grpChg chg="mod">
          <ac:chgData name="Gasteiger, Cassidy M" userId="49e4247d-81de-4625-ae16-f189e0b7e529" providerId="ADAL" clId="{EFB976C6-EC52-4602-90C8-86B8954E5255}" dt="2023-03-20T21:02:32.776" v="338" actId="1035"/>
          <ac:grpSpMkLst>
            <pc:docMk/>
            <pc:sldMk cId="2664608548" sldId="310"/>
            <ac:grpSpMk id="4" creationId="{A02FE4FD-B37D-5213-646F-3850D72FDF49}"/>
          </ac:grpSpMkLst>
        </pc:grpChg>
        <pc:grpChg chg="add mod">
          <ac:chgData name="Gasteiger, Cassidy M" userId="49e4247d-81de-4625-ae16-f189e0b7e529" providerId="ADAL" clId="{EFB976C6-EC52-4602-90C8-86B8954E5255}" dt="2023-03-20T20:36:49.409" v="285"/>
          <ac:grpSpMkLst>
            <pc:docMk/>
            <pc:sldMk cId="2664608548" sldId="310"/>
            <ac:grpSpMk id="7" creationId="{8A4CE1CA-FA97-8164-9513-243FAD5F4575}"/>
          </ac:grpSpMkLst>
        </pc:grpChg>
        <pc:grpChg chg="add mod">
          <ac:chgData name="Gasteiger, Cassidy M" userId="49e4247d-81de-4625-ae16-f189e0b7e529" providerId="ADAL" clId="{EFB976C6-EC52-4602-90C8-86B8954E5255}" dt="2023-03-20T20:36:49.409" v="285"/>
          <ac:grpSpMkLst>
            <pc:docMk/>
            <pc:sldMk cId="2664608548" sldId="310"/>
            <ac:grpSpMk id="11" creationId="{D8DA2D47-FF62-870A-11E1-25D5234EF7F3}"/>
          </ac:grpSpMkLst>
        </pc:grpChg>
        <pc:grpChg chg="add mod">
          <ac:chgData name="Gasteiger, Cassidy M" userId="49e4247d-81de-4625-ae16-f189e0b7e529" providerId="ADAL" clId="{EFB976C6-EC52-4602-90C8-86B8954E5255}" dt="2023-03-20T20:36:49.409" v="285"/>
          <ac:grpSpMkLst>
            <pc:docMk/>
            <pc:sldMk cId="2664608548" sldId="310"/>
            <ac:grpSpMk id="14" creationId="{8A7C6C6A-7DCB-EDF0-4760-029E9F78C211}"/>
          </ac:grpSpMkLst>
        </pc:grpChg>
        <pc:grpChg chg="add mod">
          <ac:chgData name="Gasteiger, Cassidy M" userId="49e4247d-81de-4625-ae16-f189e0b7e529" providerId="ADAL" clId="{EFB976C6-EC52-4602-90C8-86B8954E5255}" dt="2023-03-20T20:36:49.409" v="285"/>
          <ac:grpSpMkLst>
            <pc:docMk/>
            <pc:sldMk cId="2664608548" sldId="310"/>
            <ac:grpSpMk id="17" creationId="{E377DA83-2EBE-F574-EF3C-1B4EA565351E}"/>
          </ac:grpSpMkLst>
        </pc:grpChg>
        <pc:picChg chg="del">
          <ac:chgData name="Gasteiger, Cassidy M" userId="49e4247d-81de-4625-ae16-f189e0b7e529" providerId="ADAL" clId="{EFB976C6-EC52-4602-90C8-86B8954E5255}" dt="2023-03-20T18:12:40.298" v="4" actId="478"/>
          <ac:picMkLst>
            <pc:docMk/>
            <pc:sldMk cId="2664608548" sldId="310"/>
            <ac:picMk id="9" creationId="{5CB370C1-0080-BC2F-7AE6-E361A720DA93}"/>
          </ac:picMkLst>
        </pc:picChg>
        <pc:picChg chg="add del mod">
          <ac:chgData name="Gasteiger, Cassidy M" userId="49e4247d-81de-4625-ae16-f189e0b7e529" providerId="ADAL" clId="{EFB976C6-EC52-4602-90C8-86B8954E5255}" dt="2023-03-26T04:08:28.757" v="1436" actId="478"/>
          <ac:picMkLst>
            <pc:docMk/>
            <pc:sldMk cId="2664608548" sldId="310"/>
            <ac:picMk id="21" creationId="{1E757981-CB68-CBB9-CB88-987023D10A01}"/>
          </ac:picMkLst>
        </pc:picChg>
        <pc:picChg chg="add del mod">
          <ac:chgData name="Gasteiger, Cassidy M" userId="49e4247d-81de-4625-ae16-f189e0b7e529" providerId="ADAL" clId="{EFB976C6-EC52-4602-90C8-86B8954E5255}" dt="2023-03-26T04:10:08.360" v="1517"/>
          <ac:picMkLst>
            <pc:docMk/>
            <pc:sldMk cId="2664608548" sldId="310"/>
            <ac:picMk id="27" creationId="{776E6309-DF3A-3B9B-71E0-5EEE449BC0C0}"/>
          </ac:picMkLst>
        </pc:picChg>
        <pc:picChg chg="add mod">
          <ac:chgData name="Gasteiger, Cassidy M" userId="49e4247d-81de-4625-ae16-f189e0b7e529" providerId="ADAL" clId="{EFB976C6-EC52-4602-90C8-86B8954E5255}" dt="2023-03-27T21:07:52.156" v="4841"/>
          <ac:picMkLst>
            <pc:docMk/>
            <pc:sldMk cId="2664608548" sldId="310"/>
            <ac:picMk id="31" creationId="{D5565DA2-E29F-16E3-A1CF-D5FA6987FB7A}"/>
          </ac:picMkLst>
        </pc:picChg>
        <pc:picChg chg="mod">
          <ac:chgData name="Gasteiger, Cassidy M" userId="49e4247d-81de-4625-ae16-f189e0b7e529" providerId="ADAL" clId="{EFB976C6-EC52-4602-90C8-86B8954E5255}" dt="2023-03-26T03:01:15.258" v="492" actId="207"/>
          <ac:picMkLst>
            <pc:docMk/>
            <pc:sldMk cId="2664608548" sldId="310"/>
            <ac:picMk id="48" creationId="{A57D75A1-3BF6-B439-722B-CD4E7D87BBBC}"/>
          </ac:picMkLst>
        </pc:picChg>
      </pc:sldChg>
      <pc:sldChg chg="addSp delSp modSp mod ord delAnim">
        <pc:chgData name="Gasteiger, Cassidy M" userId="49e4247d-81de-4625-ae16-f189e0b7e529" providerId="ADAL" clId="{EFB976C6-EC52-4602-90C8-86B8954E5255}" dt="2023-03-30T15:24:21.294" v="23071"/>
        <pc:sldMkLst>
          <pc:docMk/>
          <pc:sldMk cId="1034074731" sldId="311"/>
        </pc:sldMkLst>
        <pc:spChg chg="mod">
          <ac:chgData name="Gasteiger, Cassidy M" userId="49e4247d-81de-4625-ae16-f189e0b7e529" providerId="ADAL" clId="{EFB976C6-EC52-4602-90C8-86B8954E5255}" dt="2023-03-26T03:13:19.314" v="620" actId="207"/>
          <ac:spMkLst>
            <pc:docMk/>
            <pc:sldMk cId="1034074731" sldId="311"/>
            <ac:spMk id="2" creationId="{B25E72B0-8C8E-16F1-C19D-13CBE52D3EF3}"/>
          </ac:spMkLst>
        </pc:spChg>
        <pc:spChg chg="add del mod">
          <ac:chgData name="Gasteiger, Cassidy M" userId="49e4247d-81de-4625-ae16-f189e0b7e529" providerId="ADAL" clId="{EFB976C6-EC52-4602-90C8-86B8954E5255}" dt="2023-03-26T03:04:47.623" v="542" actId="478"/>
          <ac:spMkLst>
            <pc:docMk/>
            <pc:sldMk cId="1034074731" sldId="311"/>
            <ac:spMk id="4" creationId="{86B3ED5F-055A-4F30-D746-C07B6474FF9F}"/>
          </ac:spMkLst>
        </pc:spChg>
        <pc:spChg chg="del mod">
          <ac:chgData name="Gasteiger, Cassidy M" userId="49e4247d-81de-4625-ae16-f189e0b7e529" providerId="ADAL" clId="{EFB976C6-EC52-4602-90C8-86B8954E5255}" dt="2023-03-29T02:26:31.065" v="9697" actId="478"/>
          <ac:spMkLst>
            <pc:docMk/>
            <pc:sldMk cId="1034074731" sldId="311"/>
            <ac:spMk id="6" creationId="{22ADD7E3-05E8-F39A-79CE-C7D462A62796}"/>
          </ac:spMkLst>
        </pc:spChg>
        <pc:spChg chg="add del mod">
          <ac:chgData name="Gasteiger, Cassidy M" userId="49e4247d-81de-4625-ae16-f189e0b7e529" providerId="ADAL" clId="{EFB976C6-EC52-4602-90C8-86B8954E5255}" dt="2023-03-26T03:04:47.623" v="542" actId="478"/>
          <ac:spMkLst>
            <pc:docMk/>
            <pc:sldMk cId="1034074731" sldId="311"/>
            <ac:spMk id="7" creationId="{927481F6-88E0-D176-7E6E-4E3A5310235D}"/>
          </ac:spMkLst>
        </pc:spChg>
        <pc:spChg chg="del mod">
          <ac:chgData name="Gasteiger, Cassidy M" userId="49e4247d-81de-4625-ae16-f189e0b7e529" providerId="ADAL" clId="{EFB976C6-EC52-4602-90C8-86B8954E5255}" dt="2023-03-29T02:26:35.987" v="9699" actId="478"/>
          <ac:spMkLst>
            <pc:docMk/>
            <pc:sldMk cId="1034074731" sldId="311"/>
            <ac:spMk id="8" creationId="{E0880DD0-3D0B-B8FA-D109-DDBE9A0DBCEF}"/>
          </ac:spMkLst>
        </pc:spChg>
        <pc:spChg chg="mod">
          <ac:chgData name="Gasteiger, Cassidy M" userId="49e4247d-81de-4625-ae16-f189e0b7e529" providerId="ADAL" clId="{EFB976C6-EC52-4602-90C8-86B8954E5255}" dt="2023-03-29T02:32:08.919" v="10318" actId="207"/>
          <ac:spMkLst>
            <pc:docMk/>
            <pc:sldMk cId="1034074731" sldId="311"/>
            <ac:spMk id="9" creationId="{560B71D5-9F25-8BC1-FCB8-9419CC7171EC}"/>
          </ac:spMkLst>
        </pc:spChg>
        <pc:spChg chg="add del mod">
          <ac:chgData name="Gasteiger, Cassidy M" userId="49e4247d-81de-4625-ae16-f189e0b7e529" providerId="ADAL" clId="{EFB976C6-EC52-4602-90C8-86B8954E5255}" dt="2023-03-26T03:04:47.623" v="542" actId="478"/>
          <ac:spMkLst>
            <pc:docMk/>
            <pc:sldMk cId="1034074731" sldId="311"/>
            <ac:spMk id="9" creationId="{EF683B00-4D97-6535-8383-5E0BAAF46272}"/>
          </ac:spMkLst>
        </pc:spChg>
        <pc:spChg chg="add del mod">
          <ac:chgData name="Gasteiger, Cassidy M" userId="49e4247d-81de-4625-ae16-f189e0b7e529" providerId="ADAL" clId="{EFB976C6-EC52-4602-90C8-86B8954E5255}" dt="2023-03-30T15:24:20.908" v="23070" actId="478"/>
          <ac:spMkLst>
            <pc:docMk/>
            <pc:sldMk cId="1034074731" sldId="311"/>
            <ac:spMk id="10" creationId="{6FA00477-F69A-C8F9-549F-F835544D3C42}"/>
          </ac:spMkLst>
        </pc:spChg>
        <pc:spChg chg="mod">
          <ac:chgData name="Gasteiger, Cassidy M" userId="49e4247d-81de-4625-ae16-f189e0b7e529" providerId="ADAL" clId="{EFB976C6-EC52-4602-90C8-86B8954E5255}" dt="2023-03-26T03:13:47.281" v="624" actId="208"/>
          <ac:spMkLst>
            <pc:docMk/>
            <pc:sldMk cId="1034074731" sldId="311"/>
            <ac:spMk id="12" creationId="{5A86F96E-CED6-39DF-DC8E-09831F083BD0}"/>
          </ac:spMkLst>
        </pc:spChg>
        <pc:spChg chg="del mod">
          <ac:chgData name="Gasteiger, Cassidy M" userId="49e4247d-81de-4625-ae16-f189e0b7e529" providerId="ADAL" clId="{EFB976C6-EC52-4602-90C8-86B8954E5255}" dt="2023-03-29T02:26:26.857" v="9695" actId="478"/>
          <ac:spMkLst>
            <pc:docMk/>
            <pc:sldMk cId="1034074731" sldId="311"/>
            <ac:spMk id="13" creationId="{8DE0BA9F-A989-FC2C-60A2-F473B7EEEC14}"/>
          </ac:spMkLst>
        </pc:spChg>
        <pc:spChg chg="add del mod">
          <ac:chgData name="Gasteiger, Cassidy M" userId="49e4247d-81de-4625-ae16-f189e0b7e529" providerId="ADAL" clId="{EFB976C6-EC52-4602-90C8-86B8954E5255}" dt="2023-03-30T15:24:20.908" v="23070" actId="478"/>
          <ac:spMkLst>
            <pc:docMk/>
            <pc:sldMk cId="1034074731" sldId="311"/>
            <ac:spMk id="14" creationId="{5C0726E6-BF6D-2BD4-F1DE-E47953A2FFD5}"/>
          </ac:spMkLst>
        </pc:spChg>
        <pc:spChg chg="mod">
          <ac:chgData name="Gasteiger, Cassidy M" userId="49e4247d-81de-4625-ae16-f189e0b7e529" providerId="ADAL" clId="{EFB976C6-EC52-4602-90C8-86B8954E5255}" dt="2023-03-26T22:34:55.872" v="3422" actId="20577"/>
          <ac:spMkLst>
            <pc:docMk/>
            <pc:sldMk cId="1034074731" sldId="311"/>
            <ac:spMk id="15" creationId="{BA3D8DFC-D898-C809-E067-8B3F5A3934D7}"/>
          </ac:spMkLst>
        </pc:spChg>
        <pc:spChg chg="del mod">
          <ac:chgData name="Gasteiger, Cassidy M" userId="49e4247d-81de-4625-ae16-f189e0b7e529" providerId="ADAL" clId="{EFB976C6-EC52-4602-90C8-86B8954E5255}" dt="2023-03-29T02:26:39.949" v="9701" actId="478"/>
          <ac:spMkLst>
            <pc:docMk/>
            <pc:sldMk cId="1034074731" sldId="311"/>
            <ac:spMk id="16" creationId="{A29294D2-94C6-5363-0AB6-DCE9B2214ADA}"/>
          </ac:spMkLst>
        </pc:spChg>
        <pc:spChg chg="del mod topLvl">
          <ac:chgData name="Gasteiger, Cassidy M" userId="49e4247d-81de-4625-ae16-f189e0b7e529" providerId="ADAL" clId="{EFB976C6-EC52-4602-90C8-86B8954E5255}" dt="2023-03-29T02:37:43.948" v="10356" actId="478"/>
          <ac:spMkLst>
            <pc:docMk/>
            <pc:sldMk cId="1034074731" sldId="311"/>
            <ac:spMk id="18" creationId="{F679FCAA-2493-804C-5337-17E7EAB09FB6}"/>
          </ac:spMkLst>
        </pc:spChg>
        <pc:spChg chg="add del mod">
          <ac:chgData name="Gasteiger, Cassidy M" userId="49e4247d-81de-4625-ae16-f189e0b7e529" providerId="ADAL" clId="{EFB976C6-EC52-4602-90C8-86B8954E5255}" dt="2023-03-30T15:24:20.908" v="23070" actId="478"/>
          <ac:spMkLst>
            <pc:docMk/>
            <pc:sldMk cId="1034074731" sldId="311"/>
            <ac:spMk id="19" creationId="{E5719359-46B7-858C-AE1B-5AB175721B75}"/>
          </ac:spMkLst>
        </pc:spChg>
        <pc:spChg chg="del mod">
          <ac:chgData name="Gasteiger, Cassidy M" userId="49e4247d-81de-4625-ae16-f189e0b7e529" providerId="ADAL" clId="{EFB976C6-EC52-4602-90C8-86B8954E5255}" dt="2023-03-29T02:26:46.177" v="9704" actId="478"/>
          <ac:spMkLst>
            <pc:docMk/>
            <pc:sldMk cId="1034074731" sldId="311"/>
            <ac:spMk id="20" creationId="{FB4AFA04-2650-76E9-7BA6-F00A1D815ACF}"/>
          </ac:spMkLst>
        </pc:spChg>
        <pc:spChg chg="del">
          <ac:chgData name="Gasteiger, Cassidy M" userId="49e4247d-81de-4625-ae16-f189e0b7e529" providerId="ADAL" clId="{EFB976C6-EC52-4602-90C8-86B8954E5255}" dt="2023-03-29T02:26:48.522" v="9705" actId="478"/>
          <ac:spMkLst>
            <pc:docMk/>
            <pc:sldMk cId="1034074731" sldId="311"/>
            <ac:spMk id="21" creationId="{6A59C072-973F-6FDD-7B23-007BE68A5C48}"/>
          </ac:spMkLst>
        </pc:spChg>
        <pc:spChg chg="del mod topLvl">
          <ac:chgData name="Gasteiger, Cassidy M" userId="49e4247d-81de-4625-ae16-f189e0b7e529" providerId="ADAL" clId="{EFB976C6-EC52-4602-90C8-86B8954E5255}" dt="2023-03-29T02:37:43.948" v="10356" actId="478"/>
          <ac:spMkLst>
            <pc:docMk/>
            <pc:sldMk cId="1034074731" sldId="311"/>
            <ac:spMk id="22" creationId="{C2DE9921-A3F3-BA2B-10E5-8FA6B0F25418}"/>
          </ac:spMkLst>
        </pc:spChg>
        <pc:spChg chg="del">
          <ac:chgData name="Gasteiger, Cassidy M" userId="49e4247d-81de-4625-ae16-f189e0b7e529" providerId="ADAL" clId="{EFB976C6-EC52-4602-90C8-86B8954E5255}" dt="2023-03-29T02:26:42.057" v="9702" actId="478"/>
          <ac:spMkLst>
            <pc:docMk/>
            <pc:sldMk cId="1034074731" sldId="311"/>
            <ac:spMk id="24" creationId="{AB132777-43D5-B256-69CA-5A92D86FC698}"/>
          </ac:spMkLst>
        </pc:spChg>
        <pc:spChg chg="mod">
          <ac:chgData name="Gasteiger, Cassidy M" userId="49e4247d-81de-4625-ae16-f189e0b7e529" providerId="ADAL" clId="{EFB976C6-EC52-4602-90C8-86B8954E5255}" dt="2023-03-29T02:32:18.852" v="10319" actId="207"/>
          <ac:spMkLst>
            <pc:docMk/>
            <pc:sldMk cId="1034074731" sldId="311"/>
            <ac:spMk id="25" creationId="{1502FE03-950E-0FFB-F972-E0398800D94D}"/>
          </ac:spMkLst>
        </pc:spChg>
        <pc:spChg chg="mod">
          <ac:chgData name="Gasteiger, Cassidy M" userId="49e4247d-81de-4625-ae16-f189e0b7e529" providerId="ADAL" clId="{EFB976C6-EC52-4602-90C8-86B8954E5255}" dt="2023-03-29T02:32:39.757" v="10321" actId="208"/>
          <ac:spMkLst>
            <pc:docMk/>
            <pc:sldMk cId="1034074731" sldId="311"/>
            <ac:spMk id="27" creationId="{95C31ECC-3AF1-A812-BB03-779ACBF917A7}"/>
          </ac:spMkLst>
        </pc:spChg>
        <pc:spChg chg="mod">
          <ac:chgData name="Gasteiger, Cassidy M" userId="49e4247d-81de-4625-ae16-f189e0b7e529" providerId="ADAL" clId="{EFB976C6-EC52-4602-90C8-86B8954E5255}" dt="2023-03-29T02:32:49.709" v="10322" actId="208"/>
          <ac:spMkLst>
            <pc:docMk/>
            <pc:sldMk cId="1034074731" sldId="311"/>
            <ac:spMk id="31" creationId="{79CA91A9-6634-3767-52AD-FA0C2705FEC5}"/>
          </ac:spMkLst>
        </pc:spChg>
        <pc:spChg chg="mod">
          <ac:chgData name="Gasteiger, Cassidy M" userId="49e4247d-81de-4625-ae16-f189e0b7e529" providerId="ADAL" clId="{EFB976C6-EC52-4602-90C8-86B8954E5255}" dt="2023-03-29T02:27:05.358" v="9709" actId="207"/>
          <ac:spMkLst>
            <pc:docMk/>
            <pc:sldMk cId="1034074731" sldId="311"/>
            <ac:spMk id="37" creationId="{C9CDE724-9FF2-2EB0-1525-08CE107EB384}"/>
          </ac:spMkLst>
        </pc:spChg>
        <pc:spChg chg="mod">
          <ac:chgData name="Gasteiger, Cassidy M" userId="49e4247d-81de-4625-ae16-f189e0b7e529" providerId="ADAL" clId="{EFB976C6-EC52-4602-90C8-86B8954E5255}" dt="2023-03-29T02:31:38.323" v="10311" actId="207"/>
          <ac:spMkLst>
            <pc:docMk/>
            <pc:sldMk cId="1034074731" sldId="311"/>
            <ac:spMk id="38" creationId="{0424B260-C761-1E39-7271-756C9F3A7438}"/>
          </ac:spMkLst>
        </pc:spChg>
        <pc:spChg chg="mod">
          <ac:chgData name="Gasteiger, Cassidy M" userId="49e4247d-81de-4625-ae16-f189e0b7e529" providerId="ADAL" clId="{EFB976C6-EC52-4602-90C8-86B8954E5255}" dt="2023-03-29T02:31:57.687" v="10315" actId="207"/>
          <ac:spMkLst>
            <pc:docMk/>
            <pc:sldMk cId="1034074731" sldId="311"/>
            <ac:spMk id="40" creationId="{10DB76F5-D240-D84D-FE0D-EB21C0924B7B}"/>
          </ac:spMkLst>
        </pc:spChg>
        <pc:spChg chg="mod">
          <ac:chgData name="Gasteiger, Cassidy M" userId="49e4247d-81de-4625-ae16-f189e0b7e529" providerId="ADAL" clId="{EFB976C6-EC52-4602-90C8-86B8954E5255}" dt="2023-03-29T02:33:46.587" v="10332" actId="207"/>
          <ac:spMkLst>
            <pc:docMk/>
            <pc:sldMk cId="1034074731" sldId="311"/>
            <ac:spMk id="44" creationId="{770441EE-716F-386D-889D-37AD72911949}"/>
          </ac:spMkLst>
        </pc:spChg>
        <pc:spChg chg="mod">
          <ac:chgData name="Gasteiger, Cassidy M" userId="49e4247d-81de-4625-ae16-f189e0b7e529" providerId="ADAL" clId="{EFB976C6-EC52-4602-90C8-86B8954E5255}" dt="2023-03-29T02:33:58.198" v="10337" actId="207"/>
          <ac:spMkLst>
            <pc:docMk/>
            <pc:sldMk cId="1034074731" sldId="311"/>
            <ac:spMk id="46" creationId="{76BC2BD5-60DB-53F9-3A50-580CC2F3995E}"/>
          </ac:spMkLst>
        </pc:spChg>
        <pc:spChg chg="mod">
          <ac:chgData name="Gasteiger, Cassidy M" userId="49e4247d-81de-4625-ae16-f189e0b7e529" providerId="ADAL" clId="{EFB976C6-EC52-4602-90C8-86B8954E5255}" dt="2023-03-29T02:33:37.550" v="10330" actId="208"/>
          <ac:spMkLst>
            <pc:docMk/>
            <pc:sldMk cId="1034074731" sldId="311"/>
            <ac:spMk id="48" creationId="{428ED6A2-CA1E-6559-69A5-868C9D3F71E7}"/>
          </ac:spMkLst>
        </pc:spChg>
        <pc:spChg chg="mod">
          <ac:chgData name="Gasteiger, Cassidy M" userId="49e4247d-81de-4625-ae16-f189e0b7e529" providerId="ADAL" clId="{EFB976C6-EC52-4602-90C8-86B8954E5255}" dt="2023-03-29T02:27:19.837" v="9712" actId="207"/>
          <ac:spMkLst>
            <pc:docMk/>
            <pc:sldMk cId="1034074731" sldId="311"/>
            <ac:spMk id="49" creationId="{4587C33B-5A19-2524-080F-1C149E6FE7FF}"/>
          </ac:spMkLst>
        </pc:spChg>
        <pc:spChg chg="mod">
          <ac:chgData name="Gasteiger, Cassidy M" userId="49e4247d-81de-4625-ae16-f189e0b7e529" providerId="ADAL" clId="{EFB976C6-EC52-4602-90C8-86B8954E5255}" dt="2023-03-29T02:31:53.707" v="10314" actId="207"/>
          <ac:spMkLst>
            <pc:docMk/>
            <pc:sldMk cId="1034074731" sldId="311"/>
            <ac:spMk id="50" creationId="{7C3E7E9A-2F18-DB5C-9621-AEEF4D741541}"/>
          </ac:spMkLst>
        </pc:spChg>
        <pc:spChg chg="mod">
          <ac:chgData name="Gasteiger, Cassidy M" userId="49e4247d-81de-4625-ae16-f189e0b7e529" providerId="ADAL" clId="{EFB976C6-EC52-4602-90C8-86B8954E5255}" dt="2023-03-29T02:32:01.348" v="10316" actId="207"/>
          <ac:spMkLst>
            <pc:docMk/>
            <pc:sldMk cId="1034074731" sldId="311"/>
            <ac:spMk id="52" creationId="{58963905-489A-096B-4E09-B6C6B9B69D18}"/>
          </ac:spMkLst>
        </pc:spChg>
        <pc:spChg chg="mod">
          <ac:chgData name="Gasteiger, Cassidy M" userId="49e4247d-81de-4625-ae16-f189e0b7e529" providerId="ADAL" clId="{EFB976C6-EC52-4602-90C8-86B8954E5255}" dt="2023-03-29T02:33:30.167" v="10329" actId="207"/>
          <ac:spMkLst>
            <pc:docMk/>
            <pc:sldMk cId="1034074731" sldId="311"/>
            <ac:spMk id="56" creationId="{C717898B-832A-F483-869E-02D18D2E3E3C}"/>
          </ac:spMkLst>
        </pc:spChg>
        <pc:spChg chg="mod">
          <ac:chgData name="Gasteiger, Cassidy M" userId="49e4247d-81de-4625-ae16-f189e0b7e529" providerId="ADAL" clId="{EFB976C6-EC52-4602-90C8-86B8954E5255}" dt="2023-03-29T02:34:03.531" v="10338" actId="207"/>
          <ac:spMkLst>
            <pc:docMk/>
            <pc:sldMk cId="1034074731" sldId="311"/>
            <ac:spMk id="57" creationId="{C38D38F5-3815-9567-6C84-E736246097FC}"/>
          </ac:spMkLst>
        </pc:spChg>
        <pc:spChg chg="mod">
          <ac:chgData name="Gasteiger, Cassidy M" userId="49e4247d-81de-4625-ae16-f189e0b7e529" providerId="ADAL" clId="{EFB976C6-EC52-4602-90C8-86B8954E5255}" dt="2023-03-29T02:33:20.098" v="10327" actId="208"/>
          <ac:spMkLst>
            <pc:docMk/>
            <pc:sldMk cId="1034074731" sldId="311"/>
            <ac:spMk id="60" creationId="{92715CDF-4537-A826-965E-C85A42D5E372}"/>
          </ac:spMkLst>
        </pc:spChg>
        <pc:spChg chg="mod">
          <ac:chgData name="Gasteiger, Cassidy M" userId="49e4247d-81de-4625-ae16-f189e0b7e529" providerId="ADAL" clId="{EFB976C6-EC52-4602-90C8-86B8954E5255}" dt="2023-03-29T02:27:13.207" v="9711" actId="207"/>
          <ac:spMkLst>
            <pc:docMk/>
            <pc:sldMk cId="1034074731" sldId="311"/>
            <ac:spMk id="61" creationId="{16F6DC0F-A498-EE28-7D25-AFE3E48018D9}"/>
          </ac:spMkLst>
        </pc:spChg>
        <pc:spChg chg="mod">
          <ac:chgData name="Gasteiger, Cassidy M" userId="49e4247d-81de-4625-ae16-f189e0b7e529" providerId="ADAL" clId="{EFB976C6-EC52-4602-90C8-86B8954E5255}" dt="2023-03-29T02:31:46.567" v="10313" actId="207"/>
          <ac:spMkLst>
            <pc:docMk/>
            <pc:sldMk cId="1034074731" sldId="311"/>
            <ac:spMk id="62" creationId="{DCF75439-5CA6-49A3-93FF-31BDAC45528D}"/>
          </ac:spMkLst>
        </pc:spChg>
        <pc:spChg chg="mod">
          <ac:chgData name="Gasteiger, Cassidy M" userId="49e4247d-81de-4625-ae16-f189e0b7e529" providerId="ADAL" clId="{EFB976C6-EC52-4602-90C8-86B8954E5255}" dt="2023-03-29T02:34:28.907" v="10340" actId="20577"/>
          <ac:spMkLst>
            <pc:docMk/>
            <pc:sldMk cId="1034074731" sldId="311"/>
            <ac:spMk id="192" creationId="{EDE34BCC-3B20-8418-7D9B-52F81D1DB174}"/>
          </ac:spMkLst>
        </pc:spChg>
        <pc:spChg chg="mod">
          <ac:chgData name="Gasteiger, Cassidy M" userId="49e4247d-81de-4625-ae16-f189e0b7e529" providerId="ADAL" clId="{EFB976C6-EC52-4602-90C8-86B8954E5255}" dt="2023-03-29T02:33:00.120" v="10324" actId="208"/>
          <ac:spMkLst>
            <pc:docMk/>
            <pc:sldMk cId="1034074731" sldId="311"/>
            <ac:spMk id="196" creationId="{14F61F5D-39AC-4E44-D1B2-DBC5357272F6}"/>
          </ac:spMkLst>
        </pc:spChg>
        <pc:spChg chg="mod">
          <ac:chgData name="Gasteiger, Cassidy M" userId="49e4247d-81de-4625-ae16-f189e0b7e529" providerId="ADAL" clId="{EFB976C6-EC52-4602-90C8-86B8954E5255}" dt="2023-03-29T02:34:07.913" v="10339" actId="207"/>
          <ac:spMkLst>
            <pc:docMk/>
            <pc:sldMk cId="1034074731" sldId="311"/>
            <ac:spMk id="197" creationId="{E1DDB2B4-076F-252C-6849-7D11B391BFFD}"/>
          </ac:spMkLst>
        </pc:spChg>
        <pc:spChg chg="mod">
          <ac:chgData name="Gasteiger, Cassidy M" userId="49e4247d-81de-4625-ae16-f189e0b7e529" providerId="ADAL" clId="{EFB976C6-EC52-4602-90C8-86B8954E5255}" dt="2023-03-29T02:33:07.476" v="10325" actId="207"/>
          <ac:spMkLst>
            <pc:docMk/>
            <pc:sldMk cId="1034074731" sldId="311"/>
            <ac:spMk id="200" creationId="{5A3E4A78-68F9-958B-624B-F9CD81C30A52}"/>
          </ac:spMkLst>
        </pc:spChg>
        <pc:spChg chg="mod">
          <ac:chgData name="Gasteiger, Cassidy M" userId="49e4247d-81de-4625-ae16-f189e0b7e529" providerId="ADAL" clId="{EFB976C6-EC52-4602-90C8-86B8954E5255}" dt="2023-03-29T02:27:09.337" v="9710" actId="207"/>
          <ac:spMkLst>
            <pc:docMk/>
            <pc:sldMk cId="1034074731" sldId="311"/>
            <ac:spMk id="201" creationId="{9F1A4695-2FE2-EE82-8898-74DC20FD2CE9}"/>
          </ac:spMkLst>
        </pc:spChg>
        <pc:spChg chg="mod">
          <ac:chgData name="Gasteiger, Cassidy M" userId="49e4247d-81de-4625-ae16-f189e0b7e529" providerId="ADAL" clId="{EFB976C6-EC52-4602-90C8-86B8954E5255}" dt="2023-03-29T02:31:42.776" v="10312" actId="207"/>
          <ac:spMkLst>
            <pc:docMk/>
            <pc:sldMk cId="1034074731" sldId="311"/>
            <ac:spMk id="202" creationId="{AF87847C-F625-E5B0-795A-294412CC539A}"/>
          </ac:spMkLst>
        </pc:spChg>
        <pc:spChg chg="mod">
          <ac:chgData name="Gasteiger, Cassidy M" userId="49e4247d-81de-4625-ae16-f189e0b7e529" providerId="ADAL" clId="{EFB976C6-EC52-4602-90C8-86B8954E5255}" dt="2023-03-30T15:24:21.294" v="23071"/>
          <ac:spMkLst>
            <pc:docMk/>
            <pc:sldMk cId="1034074731" sldId="311"/>
            <ac:spMk id="213" creationId="{BFA7D304-3080-03B5-BAB5-04741BA6B23E}"/>
          </ac:spMkLst>
        </pc:spChg>
        <pc:spChg chg="mod">
          <ac:chgData name="Gasteiger, Cassidy M" userId="49e4247d-81de-4625-ae16-f189e0b7e529" providerId="ADAL" clId="{EFB976C6-EC52-4602-90C8-86B8954E5255}" dt="2023-03-30T15:24:21.294" v="23071"/>
          <ac:spMkLst>
            <pc:docMk/>
            <pc:sldMk cId="1034074731" sldId="311"/>
            <ac:spMk id="214" creationId="{9461FEF7-BCA1-88BA-ABFB-AC1BD347739E}"/>
          </ac:spMkLst>
        </pc:spChg>
        <pc:spChg chg="mod">
          <ac:chgData name="Gasteiger, Cassidy M" userId="49e4247d-81de-4625-ae16-f189e0b7e529" providerId="ADAL" clId="{EFB976C6-EC52-4602-90C8-86B8954E5255}" dt="2023-03-20T21:04:10.641" v="377" actId="207"/>
          <ac:spMkLst>
            <pc:docMk/>
            <pc:sldMk cId="1034074731" sldId="311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29T02:25:16.427" v="9677" actId="164"/>
          <ac:grpSpMkLst>
            <pc:docMk/>
            <pc:sldMk cId="1034074731" sldId="311"/>
            <ac:grpSpMk id="3" creationId="{4A1A8F94-81EB-AA66-24E9-3E5FCD2CE470}"/>
          </ac:grpSpMkLst>
        </pc:grpChg>
        <pc:grpChg chg="mod">
          <ac:chgData name="Gasteiger, Cassidy M" userId="49e4247d-81de-4625-ae16-f189e0b7e529" providerId="ADAL" clId="{EFB976C6-EC52-4602-90C8-86B8954E5255}" dt="2023-03-29T02:25:07.648" v="9674"/>
          <ac:grpSpMkLst>
            <pc:docMk/>
            <pc:sldMk cId="1034074731" sldId="311"/>
            <ac:grpSpMk id="4" creationId="{2AFDEF1E-043D-B914-4FF7-51A4B31D58CB}"/>
          </ac:grpSpMkLst>
        </pc:grpChg>
        <pc:grpChg chg="mod">
          <ac:chgData name="Gasteiger, Cassidy M" userId="49e4247d-81de-4625-ae16-f189e0b7e529" providerId="ADAL" clId="{EFB976C6-EC52-4602-90C8-86B8954E5255}" dt="2023-03-29T02:25:07.648" v="9674"/>
          <ac:grpSpMkLst>
            <pc:docMk/>
            <pc:sldMk cId="1034074731" sldId="311"/>
            <ac:grpSpMk id="7" creationId="{979794D7-671F-92B4-05F9-83061B533723}"/>
          </ac:grpSpMkLst>
        </pc:grpChg>
        <pc:grpChg chg="mod">
          <ac:chgData name="Gasteiger, Cassidy M" userId="49e4247d-81de-4625-ae16-f189e0b7e529" providerId="ADAL" clId="{EFB976C6-EC52-4602-90C8-86B8954E5255}" dt="2023-03-29T02:25:07.648" v="9674"/>
          <ac:grpSpMkLst>
            <pc:docMk/>
            <pc:sldMk cId="1034074731" sldId="311"/>
            <ac:grpSpMk id="26" creationId="{6033F702-BE98-3F05-1A19-6B047B9FC327}"/>
          </ac:grpSpMkLst>
        </pc:grpChg>
        <pc:grpChg chg="del mod">
          <ac:chgData name="Gasteiger, Cassidy M" userId="49e4247d-81de-4625-ae16-f189e0b7e529" providerId="ADAL" clId="{EFB976C6-EC52-4602-90C8-86B8954E5255}" dt="2023-03-29T02:37:45.251" v="10357" actId="478"/>
          <ac:grpSpMkLst>
            <pc:docMk/>
            <pc:sldMk cId="1034074731" sldId="311"/>
            <ac:grpSpMk id="33" creationId="{B334BA38-E8D0-C752-6804-0B3299173AD9}"/>
          </ac:grpSpMkLst>
        </pc:grpChg>
        <pc:grpChg chg="del">
          <ac:chgData name="Gasteiger, Cassidy M" userId="49e4247d-81de-4625-ae16-f189e0b7e529" providerId="ADAL" clId="{EFB976C6-EC52-4602-90C8-86B8954E5255}" dt="2023-03-29T02:26:27.957" v="9696" actId="478"/>
          <ac:grpSpMkLst>
            <pc:docMk/>
            <pc:sldMk cId="1034074731" sldId="311"/>
            <ac:grpSpMk id="34" creationId="{42CBD2C5-CC24-9F29-9AC7-09554CC0AF2C}"/>
          </ac:grpSpMkLst>
        </pc:grpChg>
        <pc:grpChg chg="del mod">
          <ac:chgData name="Gasteiger, Cassidy M" userId="49e4247d-81de-4625-ae16-f189e0b7e529" providerId="ADAL" clId="{EFB976C6-EC52-4602-90C8-86B8954E5255}" dt="2023-03-29T02:31:20.215" v="10306" actId="165"/>
          <ac:grpSpMkLst>
            <pc:docMk/>
            <pc:sldMk cId="1034074731" sldId="311"/>
            <ac:grpSpMk id="35" creationId="{D7B32DAB-8793-48E2-705E-677D5592CF6F}"/>
          </ac:grpSpMkLst>
        </pc:grpChg>
        <pc:grpChg chg="del mod">
          <ac:chgData name="Gasteiger, Cassidy M" userId="49e4247d-81de-4625-ae16-f189e0b7e529" providerId="ADAL" clId="{EFB976C6-EC52-4602-90C8-86B8954E5255}" dt="2023-03-29T02:34:48.619" v="10343" actId="165"/>
          <ac:grpSpMkLst>
            <pc:docMk/>
            <pc:sldMk cId="1034074731" sldId="311"/>
            <ac:grpSpMk id="36" creationId="{3FE654FF-7A3E-2888-4791-F7AD0292FDF5}"/>
          </ac:grpSpMkLst>
        </pc:grpChg>
        <pc:grpChg chg="add mod">
          <ac:chgData name="Gasteiger, Cassidy M" userId="49e4247d-81de-4625-ae16-f189e0b7e529" providerId="ADAL" clId="{EFB976C6-EC52-4602-90C8-86B8954E5255}" dt="2023-03-29T02:25:16.427" v="9677" actId="164"/>
          <ac:grpSpMkLst>
            <pc:docMk/>
            <pc:sldMk cId="1034074731" sldId="311"/>
            <ac:grpSpMk id="39" creationId="{ED71D402-E918-0EEC-5153-6BFB2D3A90ED}"/>
          </ac:grpSpMkLst>
        </pc:grpChg>
        <pc:grpChg chg="mod">
          <ac:chgData name="Gasteiger, Cassidy M" userId="49e4247d-81de-4625-ae16-f189e0b7e529" providerId="ADAL" clId="{EFB976C6-EC52-4602-90C8-86B8954E5255}" dt="2023-03-29T02:25:07.648" v="9674"/>
          <ac:grpSpMkLst>
            <pc:docMk/>
            <pc:sldMk cId="1034074731" sldId="311"/>
            <ac:grpSpMk id="41" creationId="{484DC7B5-5F66-7392-F297-03B539116354}"/>
          </ac:grpSpMkLst>
        </pc:grpChg>
        <pc:grpChg chg="mod">
          <ac:chgData name="Gasteiger, Cassidy M" userId="49e4247d-81de-4625-ae16-f189e0b7e529" providerId="ADAL" clId="{EFB976C6-EC52-4602-90C8-86B8954E5255}" dt="2023-03-29T02:25:07.648" v="9674"/>
          <ac:grpSpMkLst>
            <pc:docMk/>
            <pc:sldMk cId="1034074731" sldId="311"/>
            <ac:grpSpMk id="43" creationId="{9A38F6F6-0448-46E3-34D5-0ACA03699AE3}"/>
          </ac:grpSpMkLst>
        </pc:grpChg>
        <pc:grpChg chg="add mod">
          <ac:chgData name="Gasteiger, Cassidy M" userId="49e4247d-81de-4625-ae16-f189e0b7e529" providerId="ADAL" clId="{EFB976C6-EC52-4602-90C8-86B8954E5255}" dt="2023-03-29T02:25:16.427" v="9677" actId="164"/>
          <ac:grpSpMkLst>
            <pc:docMk/>
            <pc:sldMk cId="1034074731" sldId="311"/>
            <ac:grpSpMk id="51" creationId="{1761A623-202C-F826-737A-E779F5AD7AF8}"/>
          </ac:grpSpMkLst>
        </pc:grpChg>
        <pc:grpChg chg="mod">
          <ac:chgData name="Gasteiger, Cassidy M" userId="49e4247d-81de-4625-ae16-f189e0b7e529" providerId="ADAL" clId="{EFB976C6-EC52-4602-90C8-86B8954E5255}" dt="2023-03-29T02:25:07.648" v="9674"/>
          <ac:grpSpMkLst>
            <pc:docMk/>
            <pc:sldMk cId="1034074731" sldId="311"/>
            <ac:grpSpMk id="53" creationId="{082E7BDE-7DD7-1B11-0EAF-92F3E32312F0}"/>
          </ac:grpSpMkLst>
        </pc:grpChg>
        <pc:grpChg chg="mod">
          <ac:chgData name="Gasteiger, Cassidy M" userId="49e4247d-81de-4625-ae16-f189e0b7e529" providerId="ADAL" clId="{EFB976C6-EC52-4602-90C8-86B8954E5255}" dt="2023-03-29T02:25:07.648" v="9674"/>
          <ac:grpSpMkLst>
            <pc:docMk/>
            <pc:sldMk cId="1034074731" sldId="311"/>
            <ac:grpSpMk id="55" creationId="{76C05926-ECC3-2453-E13C-A3F1F5105E86}"/>
          </ac:grpSpMkLst>
        </pc:grpChg>
        <pc:grpChg chg="add mod">
          <ac:chgData name="Gasteiger, Cassidy M" userId="49e4247d-81de-4625-ae16-f189e0b7e529" providerId="ADAL" clId="{EFB976C6-EC52-4602-90C8-86B8954E5255}" dt="2023-03-29T02:25:16.427" v="9677" actId="164"/>
          <ac:grpSpMkLst>
            <pc:docMk/>
            <pc:sldMk cId="1034074731" sldId="311"/>
            <ac:grpSpMk id="63" creationId="{BEBAE6C3-70E8-694F-48C5-56904FF6EAD3}"/>
          </ac:grpSpMkLst>
        </pc:grpChg>
        <pc:grpChg chg="mod">
          <ac:chgData name="Gasteiger, Cassidy M" userId="49e4247d-81de-4625-ae16-f189e0b7e529" providerId="ADAL" clId="{EFB976C6-EC52-4602-90C8-86B8954E5255}" dt="2023-03-29T02:25:07.648" v="9674"/>
          <ac:grpSpMkLst>
            <pc:docMk/>
            <pc:sldMk cId="1034074731" sldId="311"/>
            <ac:grpSpMk id="193" creationId="{0C1AE470-0052-B5F0-A16F-20705CD7D783}"/>
          </ac:grpSpMkLst>
        </pc:grpChg>
        <pc:grpChg chg="mod">
          <ac:chgData name="Gasteiger, Cassidy M" userId="49e4247d-81de-4625-ae16-f189e0b7e529" providerId="ADAL" clId="{EFB976C6-EC52-4602-90C8-86B8954E5255}" dt="2023-03-29T02:25:07.648" v="9674"/>
          <ac:grpSpMkLst>
            <pc:docMk/>
            <pc:sldMk cId="1034074731" sldId="311"/>
            <ac:grpSpMk id="195" creationId="{8FEC4C3D-0B22-A889-D98C-503089B4F0AB}"/>
          </ac:grpSpMkLst>
        </pc:grpChg>
        <pc:grpChg chg="add mod">
          <ac:chgData name="Gasteiger, Cassidy M" userId="49e4247d-81de-4625-ae16-f189e0b7e529" providerId="ADAL" clId="{EFB976C6-EC52-4602-90C8-86B8954E5255}" dt="2023-03-29T02:26:58.800" v="9708" actId="1076"/>
          <ac:grpSpMkLst>
            <pc:docMk/>
            <pc:sldMk cId="1034074731" sldId="311"/>
            <ac:grpSpMk id="203" creationId="{E04CEBB7-C55D-D896-03E7-388FC1E717E1}"/>
          </ac:grpSpMkLst>
        </pc:grpChg>
        <pc:grpChg chg="add mod">
          <ac:chgData name="Gasteiger, Cassidy M" userId="49e4247d-81de-4625-ae16-f189e0b7e529" providerId="ADAL" clId="{EFB976C6-EC52-4602-90C8-86B8954E5255}" dt="2023-03-30T15:24:21.294" v="23071"/>
          <ac:grpSpMkLst>
            <pc:docMk/>
            <pc:sldMk cId="1034074731" sldId="311"/>
            <ac:grpSpMk id="212" creationId="{0B696438-7E7A-B795-F110-B26EFBBCC1CB}"/>
          </ac:grpSpMkLst>
        </pc:grpChg>
        <pc:picChg chg="del">
          <ac:chgData name="Gasteiger, Cassidy M" userId="49e4247d-81de-4625-ae16-f189e0b7e529" providerId="ADAL" clId="{EFB976C6-EC52-4602-90C8-86B8954E5255}" dt="2023-03-20T18:12:46.673" v="6" actId="478"/>
          <ac:picMkLst>
            <pc:docMk/>
            <pc:sldMk cId="1034074731" sldId="311"/>
            <ac:picMk id="3" creationId="{EBF80F57-93A6-584C-AC2C-96D8345771D9}"/>
          </ac:picMkLst>
        </pc:picChg>
        <pc:picChg chg="add del mod">
          <ac:chgData name="Gasteiger, Cassidy M" userId="49e4247d-81de-4625-ae16-f189e0b7e529" providerId="ADAL" clId="{EFB976C6-EC52-4602-90C8-86B8954E5255}" dt="2023-03-26T03:04:47.623" v="542" actId="478"/>
          <ac:picMkLst>
            <pc:docMk/>
            <pc:sldMk cId="1034074731" sldId="311"/>
            <ac:picMk id="5" creationId="{7C54CD0B-A0F3-75EA-42DE-1A69D149F67D}"/>
          </ac:picMkLst>
        </pc:picChg>
        <pc:picChg chg="mod ord topLvl">
          <ac:chgData name="Gasteiger, Cassidy M" userId="49e4247d-81de-4625-ae16-f189e0b7e529" providerId="ADAL" clId="{EFB976C6-EC52-4602-90C8-86B8954E5255}" dt="2023-03-29T02:39:11.115" v="10380" actId="1035"/>
          <ac:picMkLst>
            <pc:docMk/>
            <pc:sldMk cId="1034074731" sldId="311"/>
            <ac:picMk id="11" creationId="{16118603-8FA1-6B2A-D22B-A6F33A738F6C}"/>
          </ac:picMkLst>
        </pc:picChg>
        <pc:picChg chg="add del mod">
          <ac:chgData name="Gasteiger, Cassidy M" userId="49e4247d-81de-4625-ae16-f189e0b7e529" providerId="ADAL" clId="{EFB976C6-EC52-4602-90C8-86B8954E5255}" dt="2023-03-30T15:24:20.908" v="23070" actId="478"/>
          <ac:picMkLst>
            <pc:docMk/>
            <pc:sldMk cId="1034074731" sldId="311"/>
            <ac:picMk id="17" creationId="{46DB66AA-1AA7-3E4B-92F6-6E7E60C7CEE8}"/>
          </ac:picMkLst>
        </pc:picChg>
        <pc:picChg chg="del mod">
          <ac:chgData name="Gasteiger, Cassidy M" userId="49e4247d-81de-4625-ae16-f189e0b7e529" providerId="ADAL" clId="{EFB976C6-EC52-4602-90C8-86B8954E5255}" dt="2023-03-29T02:26:10.087" v="9688" actId="478"/>
          <ac:picMkLst>
            <pc:docMk/>
            <pc:sldMk cId="1034074731" sldId="311"/>
            <ac:picMk id="23" creationId="{4A5D6FA0-3345-6146-0D02-77F21BF5DEAA}"/>
          </ac:picMkLst>
        </pc:picChg>
        <pc:picChg chg="mod ord">
          <ac:chgData name="Gasteiger, Cassidy M" userId="49e4247d-81de-4625-ae16-f189e0b7e529" providerId="ADAL" clId="{EFB976C6-EC52-4602-90C8-86B8954E5255}" dt="2023-03-29T02:26:24.631" v="9694" actId="166"/>
          <ac:picMkLst>
            <pc:docMk/>
            <pc:sldMk cId="1034074731" sldId="311"/>
            <ac:picMk id="28" creationId="{EAF845D0-5B61-52D8-08DA-12B4AC40949E}"/>
          </ac:picMkLst>
        </pc:picChg>
        <pc:picChg chg="del mod ord topLvl">
          <ac:chgData name="Gasteiger, Cassidy M" userId="49e4247d-81de-4625-ae16-f189e0b7e529" providerId="ADAL" clId="{EFB976C6-EC52-4602-90C8-86B8954E5255}" dt="2023-03-29T02:38:37.757" v="10370" actId="478"/>
          <ac:picMkLst>
            <pc:docMk/>
            <pc:sldMk cId="1034074731" sldId="311"/>
            <ac:picMk id="30" creationId="{D8CE97FF-A447-14D6-862C-6EB2FCEC17A8}"/>
          </ac:picMkLst>
        </pc:picChg>
        <pc:picChg chg="del mod">
          <ac:chgData name="Gasteiger, Cassidy M" userId="49e4247d-81de-4625-ae16-f189e0b7e529" providerId="ADAL" clId="{EFB976C6-EC52-4602-90C8-86B8954E5255}" dt="2023-03-29T02:26:16.302" v="9691" actId="478"/>
          <ac:picMkLst>
            <pc:docMk/>
            <pc:sldMk cId="1034074731" sldId="311"/>
            <ac:picMk id="45" creationId="{B0787147-9879-A95B-1ECD-C8C41B7A5FC9}"/>
          </ac:picMkLst>
        </pc:picChg>
        <pc:picChg chg="del mod">
          <ac:chgData name="Gasteiger, Cassidy M" userId="49e4247d-81de-4625-ae16-f189e0b7e529" providerId="ADAL" clId="{EFB976C6-EC52-4602-90C8-86B8954E5255}" dt="2023-03-29T02:26:14.327" v="9690" actId="478"/>
          <ac:picMkLst>
            <pc:docMk/>
            <pc:sldMk cId="1034074731" sldId="311"/>
            <ac:picMk id="58" creationId="{C14E8F56-03C9-CA56-57CA-932DF5E91B17}"/>
          </ac:picMkLst>
        </pc:picChg>
        <pc:picChg chg="del mod">
          <ac:chgData name="Gasteiger, Cassidy M" userId="49e4247d-81de-4625-ae16-f189e0b7e529" providerId="ADAL" clId="{EFB976C6-EC52-4602-90C8-86B8954E5255}" dt="2023-03-29T02:26:12.087" v="9689" actId="478"/>
          <ac:picMkLst>
            <pc:docMk/>
            <pc:sldMk cId="1034074731" sldId="311"/>
            <ac:picMk id="198" creationId="{297CCE2A-3332-C6D3-E36C-CCEDF4B460E0}"/>
          </ac:picMkLst>
        </pc:picChg>
        <pc:picChg chg="add del mod">
          <ac:chgData name="Gasteiger, Cassidy M" userId="49e4247d-81de-4625-ae16-f189e0b7e529" providerId="ADAL" clId="{EFB976C6-EC52-4602-90C8-86B8954E5255}" dt="2023-03-29T02:38:59.267" v="10375" actId="478"/>
          <ac:picMkLst>
            <pc:docMk/>
            <pc:sldMk cId="1034074731" sldId="311"/>
            <ac:picMk id="205" creationId="{31BEE69F-8684-1078-484C-A4F87A6FD196}"/>
          </ac:picMkLst>
        </pc:picChg>
        <pc:picChg chg="add mod">
          <ac:chgData name="Gasteiger, Cassidy M" userId="49e4247d-81de-4625-ae16-f189e0b7e529" providerId="ADAL" clId="{EFB976C6-EC52-4602-90C8-86B8954E5255}" dt="2023-03-29T02:38:05.658" v="10363" actId="1076"/>
          <ac:picMkLst>
            <pc:docMk/>
            <pc:sldMk cId="1034074731" sldId="311"/>
            <ac:picMk id="207" creationId="{850B99F6-B2B9-D730-C0A1-30A945EA56D4}"/>
          </ac:picMkLst>
        </pc:picChg>
        <pc:picChg chg="add mod">
          <ac:chgData name="Gasteiger, Cassidy M" userId="49e4247d-81de-4625-ae16-f189e0b7e529" providerId="ADAL" clId="{EFB976C6-EC52-4602-90C8-86B8954E5255}" dt="2023-03-29T02:38:41.245" v="10371" actId="1076"/>
          <ac:picMkLst>
            <pc:docMk/>
            <pc:sldMk cId="1034074731" sldId="311"/>
            <ac:picMk id="209" creationId="{0E9DCCD3-29FE-CE99-56E3-FBEA6B5BE6C1}"/>
          </ac:picMkLst>
        </pc:picChg>
        <pc:picChg chg="add mod">
          <ac:chgData name="Gasteiger, Cassidy M" userId="49e4247d-81de-4625-ae16-f189e0b7e529" providerId="ADAL" clId="{EFB976C6-EC52-4602-90C8-86B8954E5255}" dt="2023-03-29T02:39:05.883" v="10378" actId="14100"/>
          <ac:picMkLst>
            <pc:docMk/>
            <pc:sldMk cId="1034074731" sldId="311"/>
            <ac:picMk id="211" creationId="{EDC8125D-0114-6E55-079B-281AD5E07E47}"/>
          </ac:picMkLst>
        </pc:picChg>
        <pc:cxnChg chg="mod">
          <ac:chgData name="Gasteiger, Cassidy M" userId="49e4247d-81de-4625-ae16-f189e0b7e529" providerId="ADAL" clId="{EFB976C6-EC52-4602-90C8-86B8954E5255}" dt="2023-03-29T02:32:39.757" v="10321" actId="208"/>
          <ac:cxnSpMkLst>
            <pc:docMk/>
            <pc:sldMk cId="1034074731" sldId="311"/>
            <ac:cxnSpMk id="5" creationId="{5E4F1D54-D84F-CD8F-1F35-CC028725D00D}"/>
          </ac:cxnSpMkLst>
        </pc:cxnChg>
        <pc:cxnChg chg="mod">
          <ac:chgData name="Gasteiger, Cassidy M" userId="49e4247d-81de-4625-ae16-f189e0b7e529" providerId="ADAL" clId="{EFB976C6-EC52-4602-90C8-86B8954E5255}" dt="2023-03-29T02:32:39.757" v="10321" actId="208"/>
          <ac:cxnSpMkLst>
            <pc:docMk/>
            <pc:sldMk cId="1034074731" sldId="311"/>
            <ac:cxnSpMk id="29" creationId="{B05EBF67-3EAC-4AF5-1E00-12CF6F159691}"/>
          </ac:cxnSpMkLst>
        </pc:cxnChg>
        <pc:cxnChg chg="mod">
          <ac:chgData name="Gasteiger, Cassidy M" userId="49e4247d-81de-4625-ae16-f189e0b7e529" providerId="ADAL" clId="{EFB976C6-EC52-4602-90C8-86B8954E5255}" dt="2023-03-29T02:33:46.587" v="10332" actId="207"/>
          <ac:cxnSpMkLst>
            <pc:docMk/>
            <pc:sldMk cId="1034074731" sldId="311"/>
            <ac:cxnSpMk id="42" creationId="{061BFFBD-8E1F-5042-DCCC-C4F1E2E64830}"/>
          </ac:cxnSpMkLst>
        </pc:cxnChg>
        <pc:cxnChg chg="mod">
          <ac:chgData name="Gasteiger, Cassidy M" userId="49e4247d-81de-4625-ae16-f189e0b7e529" providerId="ADAL" clId="{EFB976C6-EC52-4602-90C8-86B8954E5255}" dt="2023-03-29T02:33:46.587" v="10332" actId="207"/>
          <ac:cxnSpMkLst>
            <pc:docMk/>
            <pc:sldMk cId="1034074731" sldId="311"/>
            <ac:cxnSpMk id="47" creationId="{DEB7765A-FFF1-3AD0-5A04-F40A22F54C90}"/>
          </ac:cxnSpMkLst>
        </pc:cxnChg>
        <pc:cxnChg chg="mod">
          <ac:chgData name="Gasteiger, Cassidy M" userId="49e4247d-81de-4625-ae16-f189e0b7e529" providerId="ADAL" clId="{EFB976C6-EC52-4602-90C8-86B8954E5255}" dt="2023-03-29T02:33:30.167" v="10329" actId="207"/>
          <ac:cxnSpMkLst>
            <pc:docMk/>
            <pc:sldMk cId="1034074731" sldId="311"/>
            <ac:cxnSpMk id="54" creationId="{D5D66485-B543-05E7-1A9A-BAA305657C0D}"/>
          </ac:cxnSpMkLst>
        </pc:cxnChg>
        <pc:cxnChg chg="mod">
          <ac:chgData name="Gasteiger, Cassidy M" userId="49e4247d-81de-4625-ae16-f189e0b7e529" providerId="ADAL" clId="{EFB976C6-EC52-4602-90C8-86B8954E5255}" dt="2023-03-29T02:33:30.167" v="10329" actId="207"/>
          <ac:cxnSpMkLst>
            <pc:docMk/>
            <pc:sldMk cId="1034074731" sldId="311"/>
            <ac:cxnSpMk id="59" creationId="{A780C0FE-1E18-54C5-B086-3E7A9D75E8DF}"/>
          </ac:cxnSpMkLst>
        </pc:cxnChg>
        <pc:cxnChg chg="mod">
          <ac:chgData name="Gasteiger, Cassidy M" userId="49e4247d-81de-4625-ae16-f189e0b7e529" providerId="ADAL" clId="{EFB976C6-EC52-4602-90C8-86B8954E5255}" dt="2023-03-29T02:33:00.120" v="10324" actId="208"/>
          <ac:cxnSpMkLst>
            <pc:docMk/>
            <pc:sldMk cId="1034074731" sldId="311"/>
            <ac:cxnSpMk id="194" creationId="{C111C46E-4268-1AB2-C611-1E1047FC2BBC}"/>
          </ac:cxnSpMkLst>
        </pc:cxnChg>
        <pc:cxnChg chg="mod">
          <ac:chgData name="Gasteiger, Cassidy M" userId="49e4247d-81de-4625-ae16-f189e0b7e529" providerId="ADAL" clId="{EFB976C6-EC52-4602-90C8-86B8954E5255}" dt="2023-03-29T02:33:12.788" v="10326" actId="208"/>
          <ac:cxnSpMkLst>
            <pc:docMk/>
            <pc:sldMk cId="1034074731" sldId="311"/>
            <ac:cxnSpMk id="199" creationId="{7D944C73-A18B-0015-F426-92682F58066F}"/>
          </ac:cxnSpMkLst>
        </pc:cxnChg>
      </pc:sldChg>
      <pc:sldChg chg="addSp delSp modSp mod ord delAnim modNotesTx">
        <pc:chgData name="Gasteiger, Cassidy M" userId="49e4247d-81de-4625-ae16-f189e0b7e529" providerId="ADAL" clId="{EFB976C6-EC52-4602-90C8-86B8954E5255}" dt="2023-03-31T04:08:25.036" v="41660" actId="1076"/>
        <pc:sldMkLst>
          <pc:docMk/>
          <pc:sldMk cId="2722837168" sldId="313"/>
        </pc:sldMkLst>
        <pc:spChg chg="add del mod">
          <ac:chgData name="Gasteiger, Cassidy M" userId="49e4247d-81de-4625-ae16-f189e0b7e529" providerId="ADAL" clId="{EFB976C6-EC52-4602-90C8-86B8954E5255}" dt="2023-03-29T02:55:19.502" v="10830" actId="478"/>
          <ac:spMkLst>
            <pc:docMk/>
            <pc:sldMk cId="2722837168" sldId="313"/>
            <ac:spMk id="2" creationId="{1A67E153-E1F5-B975-77C7-D66D2D24F557}"/>
          </ac:spMkLst>
        </pc:spChg>
        <pc:spChg chg="add del mod">
          <ac:chgData name="Gasteiger, Cassidy M" userId="49e4247d-81de-4625-ae16-f189e0b7e529" providerId="ADAL" clId="{EFB976C6-EC52-4602-90C8-86B8954E5255}" dt="2023-03-26T03:04:26.070" v="539" actId="478"/>
          <ac:spMkLst>
            <pc:docMk/>
            <pc:sldMk cId="2722837168" sldId="313"/>
            <ac:spMk id="2" creationId="{52DF0156-38E8-480B-05F5-0D9FD59F89A7}"/>
          </ac:spMkLst>
        </pc:spChg>
        <pc:spChg chg="add del mod">
          <ac:chgData name="Gasteiger, Cassidy M" userId="49e4247d-81de-4625-ae16-f189e0b7e529" providerId="ADAL" clId="{EFB976C6-EC52-4602-90C8-86B8954E5255}" dt="2023-03-29T02:55:18.147" v="10829" actId="478"/>
          <ac:spMkLst>
            <pc:docMk/>
            <pc:sldMk cId="2722837168" sldId="313"/>
            <ac:spMk id="3" creationId="{6BA4F7A7-8CD5-5521-10F5-60295D5B69A0}"/>
          </ac:spMkLst>
        </pc:spChg>
        <pc:spChg chg="add del mod">
          <ac:chgData name="Gasteiger, Cassidy M" userId="49e4247d-81de-4625-ae16-f189e0b7e529" providerId="ADAL" clId="{EFB976C6-EC52-4602-90C8-86B8954E5255}" dt="2023-03-26T03:04:25.245" v="538" actId="478"/>
          <ac:spMkLst>
            <pc:docMk/>
            <pc:sldMk cId="2722837168" sldId="313"/>
            <ac:spMk id="4" creationId="{72508451-6D13-90A2-A545-3D5F8DAF32A9}"/>
          </ac:spMkLst>
        </pc:spChg>
        <pc:spChg chg="mod">
          <ac:chgData name="Gasteiger, Cassidy M" userId="49e4247d-81de-4625-ae16-f189e0b7e529" providerId="ADAL" clId="{EFB976C6-EC52-4602-90C8-86B8954E5255}" dt="2023-03-30T05:35:20.992" v="19771" actId="207"/>
          <ac:spMkLst>
            <pc:docMk/>
            <pc:sldMk cId="2722837168" sldId="313"/>
            <ac:spMk id="6" creationId="{F8642C6C-CC1B-308C-564B-A9468901F180}"/>
          </ac:spMkLst>
        </pc:spChg>
        <pc:spChg chg="mod">
          <ac:chgData name="Gasteiger, Cassidy M" userId="49e4247d-81de-4625-ae16-f189e0b7e529" providerId="ADAL" clId="{EFB976C6-EC52-4602-90C8-86B8954E5255}" dt="2023-03-30T05:35:37.418" v="19775" actId="207"/>
          <ac:spMkLst>
            <pc:docMk/>
            <pc:sldMk cId="2722837168" sldId="313"/>
            <ac:spMk id="9" creationId="{5578A9FC-CCDE-5EF9-C3D3-F4AF6CC7EE33}"/>
          </ac:spMkLst>
        </pc:spChg>
        <pc:spChg chg="mod">
          <ac:chgData name="Gasteiger, Cassidy M" userId="49e4247d-81de-4625-ae16-f189e0b7e529" providerId="ADAL" clId="{EFB976C6-EC52-4602-90C8-86B8954E5255}" dt="2023-03-30T05:35:40.228" v="19777" actId="14100"/>
          <ac:spMkLst>
            <pc:docMk/>
            <pc:sldMk cId="2722837168" sldId="313"/>
            <ac:spMk id="10" creationId="{CCF66740-CFD1-2572-3D22-E7AF8A861BCB}"/>
          </ac:spMkLst>
        </pc:spChg>
        <pc:spChg chg="add del mod">
          <ac:chgData name="Gasteiger, Cassidy M" userId="49e4247d-81de-4625-ae16-f189e0b7e529" providerId="ADAL" clId="{EFB976C6-EC52-4602-90C8-86B8954E5255}" dt="2023-03-26T03:04:24.270" v="537" actId="478"/>
          <ac:spMkLst>
            <pc:docMk/>
            <pc:sldMk cId="2722837168" sldId="313"/>
            <ac:spMk id="11" creationId="{A6D2E125-5F41-4AF8-41EB-2C1D003ACC15}"/>
          </ac:spMkLst>
        </pc:spChg>
        <pc:spChg chg="mod">
          <ac:chgData name="Gasteiger, Cassidy M" userId="49e4247d-81de-4625-ae16-f189e0b7e529" providerId="ADAL" clId="{EFB976C6-EC52-4602-90C8-86B8954E5255}" dt="2023-03-30T05:35:30.670" v="19773" actId="207"/>
          <ac:spMkLst>
            <pc:docMk/>
            <pc:sldMk cId="2722837168" sldId="313"/>
            <ac:spMk id="13" creationId="{6AA1A04F-83FF-0289-2E39-3561C96C5B4B}"/>
          </ac:spMkLst>
        </pc:spChg>
        <pc:spChg chg="mod">
          <ac:chgData name="Gasteiger, Cassidy M" userId="49e4247d-81de-4625-ae16-f189e0b7e529" providerId="ADAL" clId="{EFB976C6-EC52-4602-90C8-86B8954E5255}" dt="2023-03-31T04:08:25.036" v="41660" actId="1076"/>
          <ac:spMkLst>
            <pc:docMk/>
            <pc:sldMk cId="2722837168" sldId="313"/>
            <ac:spMk id="14" creationId="{21D86F37-1C4C-E507-6821-534C3B6F9289}"/>
          </ac:spMkLst>
        </pc:spChg>
        <pc:spChg chg="mod">
          <ac:chgData name="Gasteiger, Cassidy M" userId="49e4247d-81de-4625-ae16-f189e0b7e529" providerId="ADAL" clId="{EFB976C6-EC52-4602-90C8-86B8954E5255}" dt="2023-03-30T15:22:21.246" v="23026" actId="1076"/>
          <ac:spMkLst>
            <pc:docMk/>
            <pc:sldMk cId="2722837168" sldId="313"/>
            <ac:spMk id="15" creationId="{5C078654-A462-BA02-323F-2741E7B262B1}"/>
          </ac:spMkLst>
        </pc:spChg>
        <pc:spChg chg="add del mod">
          <ac:chgData name="Gasteiger, Cassidy M" userId="49e4247d-81de-4625-ae16-f189e0b7e529" providerId="ADAL" clId="{EFB976C6-EC52-4602-90C8-86B8954E5255}" dt="2023-03-26T04:08:22.517" v="1434" actId="478"/>
          <ac:spMkLst>
            <pc:docMk/>
            <pc:sldMk cId="2722837168" sldId="313"/>
            <ac:spMk id="16" creationId="{3B385E7A-B2AD-7530-BF83-1BED10153146}"/>
          </ac:spMkLst>
        </pc:spChg>
        <pc:spChg chg="mod">
          <ac:chgData name="Gasteiger, Cassidy M" userId="49e4247d-81de-4625-ae16-f189e0b7e529" providerId="ADAL" clId="{EFB976C6-EC52-4602-90C8-86B8954E5255}" dt="2023-03-30T15:23:32.511" v="23063" actId="207"/>
          <ac:spMkLst>
            <pc:docMk/>
            <pc:sldMk cId="2722837168" sldId="313"/>
            <ac:spMk id="17" creationId="{905742FD-070F-5174-436B-D64AF13C2FE7}"/>
          </ac:spMkLst>
        </pc:spChg>
        <pc:spChg chg="add del mod">
          <ac:chgData name="Gasteiger, Cassidy M" userId="49e4247d-81de-4625-ae16-f189e0b7e529" providerId="ADAL" clId="{EFB976C6-EC52-4602-90C8-86B8954E5255}" dt="2023-03-26T04:08:22.517" v="1434" actId="478"/>
          <ac:spMkLst>
            <pc:docMk/>
            <pc:sldMk cId="2722837168" sldId="313"/>
            <ac:spMk id="17" creationId="{DB898C3E-DE78-321E-AAC5-07A28E086DB6}"/>
          </ac:spMkLst>
        </pc:spChg>
        <pc:spChg chg="mod">
          <ac:chgData name="Gasteiger, Cassidy M" userId="49e4247d-81de-4625-ae16-f189e0b7e529" providerId="ADAL" clId="{EFB976C6-EC52-4602-90C8-86B8954E5255}" dt="2023-03-30T15:23:57.684" v="23065" actId="207"/>
          <ac:spMkLst>
            <pc:docMk/>
            <pc:sldMk cId="2722837168" sldId="313"/>
            <ac:spMk id="19" creationId="{088ABD4F-9F20-436B-6849-1EB3CBC4866B}"/>
          </ac:spMkLst>
        </pc:spChg>
        <pc:spChg chg="add del mod">
          <ac:chgData name="Gasteiger, Cassidy M" userId="49e4247d-81de-4625-ae16-f189e0b7e529" providerId="ADAL" clId="{EFB976C6-EC52-4602-90C8-86B8954E5255}" dt="2023-03-26T04:08:22.517" v="1434" actId="478"/>
          <ac:spMkLst>
            <pc:docMk/>
            <pc:sldMk cId="2722837168" sldId="313"/>
            <ac:spMk id="21" creationId="{7CA98270-81BE-5A42-765C-8C998E961402}"/>
          </ac:spMkLst>
        </pc:spChg>
        <pc:spChg chg="add del mod">
          <ac:chgData name="Gasteiger, Cassidy M" userId="49e4247d-81de-4625-ae16-f189e0b7e529" providerId="ADAL" clId="{EFB976C6-EC52-4602-90C8-86B8954E5255}" dt="2023-03-30T15:23:25.827" v="23062" actId="478"/>
          <ac:spMkLst>
            <pc:docMk/>
            <pc:sldMk cId="2722837168" sldId="313"/>
            <ac:spMk id="22" creationId="{055ACA3A-44A1-BD78-3D30-E67791B35AB2}"/>
          </ac:spMkLst>
        </pc:spChg>
        <pc:spChg chg="add del mod">
          <ac:chgData name="Gasteiger, Cassidy M" userId="49e4247d-81de-4625-ae16-f189e0b7e529" providerId="ADAL" clId="{EFB976C6-EC52-4602-90C8-86B8954E5255}" dt="2023-03-30T15:10:57.094" v="22080" actId="478"/>
          <ac:spMkLst>
            <pc:docMk/>
            <pc:sldMk cId="2722837168" sldId="313"/>
            <ac:spMk id="23" creationId="{D6B37435-BDEA-0FCE-3800-D755A96430BB}"/>
          </ac:spMkLst>
        </pc:spChg>
        <pc:spChg chg="add del mod">
          <ac:chgData name="Gasteiger, Cassidy M" userId="49e4247d-81de-4625-ae16-f189e0b7e529" providerId="ADAL" clId="{EFB976C6-EC52-4602-90C8-86B8954E5255}" dt="2023-03-30T15:23:24.982" v="23061" actId="478"/>
          <ac:spMkLst>
            <pc:docMk/>
            <pc:sldMk cId="2722837168" sldId="313"/>
            <ac:spMk id="25" creationId="{723ACA8C-48D6-8749-9ED2-389E19BDAE9D}"/>
          </ac:spMkLst>
        </pc:spChg>
        <pc:spChg chg="mod">
          <ac:chgData name="Gasteiger, Cassidy M" userId="49e4247d-81de-4625-ae16-f189e0b7e529" providerId="ADAL" clId="{EFB976C6-EC52-4602-90C8-86B8954E5255}" dt="2023-03-26T03:02:35.632" v="525" actId="20577"/>
          <ac:spMkLst>
            <pc:docMk/>
            <pc:sldMk cId="2722837168" sldId="313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30T15:24:07.149" v="23066" actId="1076"/>
          <ac:grpSpMkLst>
            <pc:docMk/>
            <pc:sldMk cId="2722837168" sldId="313"/>
            <ac:grpSpMk id="16" creationId="{313E1FAC-AD78-F7C6-AA85-2137CDD382B0}"/>
          </ac:grpSpMkLst>
        </pc:grpChg>
        <pc:picChg chg="add del mod">
          <ac:chgData name="Gasteiger, Cassidy M" userId="49e4247d-81de-4625-ae16-f189e0b7e529" providerId="ADAL" clId="{EFB976C6-EC52-4602-90C8-86B8954E5255}" dt="2023-03-26T03:04:27.480" v="540" actId="478"/>
          <ac:picMkLst>
            <pc:docMk/>
            <pc:sldMk cId="2722837168" sldId="313"/>
            <ac:picMk id="3" creationId="{332F1C1E-3E60-D144-9C07-B3BF25D1B29F}"/>
          </ac:picMkLst>
        </pc:picChg>
        <pc:picChg chg="add del mod">
          <ac:chgData name="Gasteiger, Cassidy M" userId="49e4247d-81de-4625-ae16-f189e0b7e529" providerId="ADAL" clId="{EFB976C6-EC52-4602-90C8-86B8954E5255}" dt="2023-03-29T02:55:20.831" v="10831" actId="478"/>
          <ac:picMkLst>
            <pc:docMk/>
            <pc:sldMk cId="2722837168" sldId="313"/>
            <ac:picMk id="4" creationId="{2942023B-0004-0074-B5E6-B836F8057B97}"/>
          </ac:picMkLst>
        </pc:picChg>
        <pc:picChg chg="del mod">
          <ac:chgData name="Gasteiger, Cassidy M" userId="49e4247d-81de-4625-ae16-f189e0b7e529" providerId="ADAL" clId="{EFB976C6-EC52-4602-90C8-86B8954E5255}" dt="2023-03-30T15:22:00.402" v="23023" actId="478"/>
          <ac:picMkLst>
            <pc:docMk/>
            <pc:sldMk cId="2722837168" sldId="313"/>
            <ac:picMk id="18" creationId="{6163D32A-62D4-FC85-AAD1-E2B5DCF0AEA9}"/>
          </ac:picMkLst>
        </pc:picChg>
        <pc:picChg chg="add del mod">
          <ac:chgData name="Gasteiger, Cassidy M" userId="49e4247d-81de-4625-ae16-f189e0b7e529" providerId="ADAL" clId="{EFB976C6-EC52-4602-90C8-86B8954E5255}" dt="2023-03-26T04:08:22.517" v="1434" actId="478"/>
          <ac:picMkLst>
            <pc:docMk/>
            <pc:sldMk cId="2722837168" sldId="313"/>
            <ac:picMk id="19" creationId="{7D0E2558-19CC-D87C-BEA9-97218001590A}"/>
          </ac:picMkLst>
        </pc:picChg>
        <pc:picChg chg="del">
          <ac:chgData name="Gasteiger, Cassidy M" userId="49e4247d-81de-4625-ae16-f189e0b7e529" providerId="ADAL" clId="{EFB976C6-EC52-4602-90C8-86B8954E5255}" dt="2023-03-20T18:12:43.964" v="5" actId="478"/>
          <ac:picMkLst>
            <pc:docMk/>
            <pc:sldMk cId="2722837168" sldId="313"/>
            <ac:picMk id="20" creationId="{BBDFCC23-C785-B628-B33A-CC9D3C2D305C}"/>
          </ac:picMkLst>
        </pc:picChg>
        <pc:picChg chg="add del mod">
          <ac:chgData name="Gasteiger, Cassidy M" userId="49e4247d-81de-4625-ae16-f189e0b7e529" providerId="ADAL" clId="{EFB976C6-EC52-4602-90C8-86B8954E5255}" dt="2023-03-30T15:10:52.870" v="22078" actId="478"/>
          <ac:picMkLst>
            <pc:docMk/>
            <pc:sldMk cId="2722837168" sldId="313"/>
            <ac:picMk id="24" creationId="{BDD220A4-EE0F-D161-786A-2AD8A644D285}"/>
          </ac:picMkLst>
        </pc:picChg>
        <pc:cxnChg chg="mod">
          <ac:chgData name="Gasteiger, Cassidy M" userId="49e4247d-81de-4625-ae16-f189e0b7e529" providerId="ADAL" clId="{EFB976C6-EC52-4602-90C8-86B8954E5255}" dt="2023-03-30T05:35:27.795" v="19772" actId="208"/>
          <ac:cxnSpMkLst>
            <pc:docMk/>
            <pc:sldMk cId="2722837168" sldId="313"/>
            <ac:cxnSpMk id="5" creationId="{61F86580-E133-6BAC-DF2E-BB5D8C772FFA}"/>
          </ac:cxnSpMkLst>
        </pc:cxnChg>
        <pc:cxnChg chg="mod">
          <ac:chgData name="Gasteiger, Cassidy M" userId="49e4247d-81de-4625-ae16-f189e0b7e529" providerId="ADAL" clId="{EFB976C6-EC52-4602-90C8-86B8954E5255}" dt="2023-03-30T05:35:44.133" v="19778" actId="208"/>
          <ac:cxnSpMkLst>
            <pc:docMk/>
            <pc:sldMk cId="2722837168" sldId="313"/>
            <ac:cxnSpMk id="8" creationId="{75328249-F130-CA00-4AA8-9241193B8BB9}"/>
          </ac:cxnSpMkLst>
        </pc:cxnChg>
        <pc:cxnChg chg="add mod">
          <ac:chgData name="Gasteiger, Cassidy M" userId="49e4247d-81de-4625-ae16-f189e0b7e529" providerId="ADAL" clId="{EFB976C6-EC52-4602-90C8-86B8954E5255}" dt="2023-03-30T15:22:26.093" v="23027" actId="1076"/>
          <ac:cxnSpMkLst>
            <pc:docMk/>
            <pc:sldMk cId="2722837168" sldId="313"/>
            <ac:cxnSpMk id="11" creationId="{BC7672BF-5DD7-B7DA-8EA4-1F82CC0D33BD}"/>
          </ac:cxnSpMkLst>
        </pc:cxnChg>
        <pc:cxnChg chg="mod">
          <ac:chgData name="Gasteiger, Cassidy M" userId="49e4247d-81de-4625-ae16-f189e0b7e529" providerId="ADAL" clId="{EFB976C6-EC52-4602-90C8-86B8954E5255}" dt="2023-03-30T05:35:34.750" v="19774" actId="208"/>
          <ac:cxnSpMkLst>
            <pc:docMk/>
            <pc:sldMk cId="2722837168" sldId="313"/>
            <ac:cxnSpMk id="12" creationId="{3FC6E5F1-E061-1EE3-1E15-C2C7D55D94B3}"/>
          </ac:cxnSpMkLst>
        </pc:cxnChg>
      </pc:sldChg>
      <pc:sldChg chg="addSp delSp modSp del mod delAnim">
        <pc:chgData name="Gasteiger, Cassidy M" userId="49e4247d-81de-4625-ae16-f189e0b7e529" providerId="ADAL" clId="{EFB976C6-EC52-4602-90C8-86B8954E5255}" dt="2023-03-30T20:40:13.508" v="30031" actId="2696"/>
        <pc:sldMkLst>
          <pc:docMk/>
          <pc:sldMk cId="2860769231" sldId="314"/>
        </pc:sldMkLst>
        <pc:spChg chg="add mod">
          <ac:chgData name="Gasteiger, Cassidy M" userId="49e4247d-81de-4625-ae16-f189e0b7e529" providerId="ADAL" clId="{EFB976C6-EC52-4602-90C8-86B8954E5255}" dt="2023-03-20T20:56:08.602" v="299" actId="207"/>
          <ac:spMkLst>
            <pc:docMk/>
            <pc:sldMk cId="2860769231" sldId="314"/>
            <ac:spMk id="2" creationId="{2B2AA85E-C3EB-2039-19ED-F5B6C60AAF13}"/>
          </ac:spMkLst>
        </pc:spChg>
        <pc:spChg chg="add mod">
          <ac:chgData name="Gasteiger, Cassidy M" userId="49e4247d-81de-4625-ae16-f189e0b7e529" providerId="ADAL" clId="{EFB976C6-EC52-4602-90C8-86B8954E5255}" dt="2023-03-20T19:32:37.581" v="192" actId="20577"/>
          <ac:spMkLst>
            <pc:docMk/>
            <pc:sldMk cId="2860769231" sldId="314"/>
            <ac:spMk id="3" creationId="{5FA0448D-DE93-1151-5028-BC6AF6ECB4C0}"/>
          </ac:spMkLst>
        </pc:spChg>
        <pc:spChg chg="mod">
          <ac:chgData name="Gasteiger, Cassidy M" userId="49e4247d-81de-4625-ae16-f189e0b7e529" providerId="ADAL" clId="{EFB976C6-EC52-4602-90C8-86B8954E5255}" dt="2023-03-20T20:35:56.029" v="278"/>
          <ac:spMkLst>
            <pc:docMk/>
            <pc:sldMk cId="2860769231" sldId="314"/>
            <ac:spMk id="5" creationId="{85663028-0F0A-686E-E4BF-FEA8DFC631CD}"/>
          </ac:spMkLst>
        </pc:spChg>
        <pc:spChg chg="mod">
          <ac:chgData name="Gasteiger, Cassidy M" userId="49e4247d-81de-4625-ae16-f189e0b7e529" providerId="ADAL" clId="{EFB976C6-EC52-4602-90C8-86B8954E5255}" dt="2023-03-20T20:35:56.029" v="278"/>
          <ac:spMkLst>
            <pc:docMk/>
            <pc:sldMk cId="2860769231" sldId="314"/>
            <ac:spMk id="6" creationId="{C474674C-A743-513B-6EB8-AC514CC72403}"/>
          </ac:spMkLst>
        </pc:spChg>
        <pc:spChg chg="mod">
          <ac:chgData name="Gasteiger, Cassidy M" userId="49e4247d-81de-4625-ae16-f189e0b7e529" providerId="ADAL" clId="{EFB976C6-EC52-4602-90C8-86B8954E5255}" dt="2023-03-20T20:36:11.527" v="279" actId="207"/>
          <ac:spMkLst>
            <pc:docMk/>
            <pc:sldMk cId="2860769231" sldId="314"/>
            <ac:spMk id="8" creationId="{E908653D-55C2-507B-097C-522DEAA39C99}"/>
          </ac:spMkLst>
        </pc:spChg>
        <pc:spChg chg="mod">
          <ac:chgData name="Gasteiger, Cassidy M" userId="49e4247d-81de-4625-ae16-f189e0b7e529" providerId="ADAL" clId="{EFB976C6-EC52-4602-90C8-86B8954E5255}" dt="2023-03-20T20:36:15.643" v="280" actId="207"/>
          <ac:spMkLst>
            <pc:docMk/>
            <pc:sldMk cId="2860769231" sldId="314"/>
            <ac:spMk id="10" creationId="{29980911-3E67-8701-4E55-CD8978F98F6A}"/>
          </ac:spMkLst>
        </pc:spChg>
        <pc:spChg chg="mod">
          <ac:chgData name="Gasteiger, Cassidy M" userId="49e4247d-81de-4625-ae16-f189e0b7e529" providerId="ADAL" clId="{EFB976C6-EC52-4602-90C8-86B8954E5255}" dt="2023-03-20T20:35:56.029" v="278"/>
          <ac:spMkLst>
            <pc:docMk/>
            <pc:sldMk cId="2860769231" sldId="314"/>
            <ac:spMk id="12" creationId="{14BB1D54-8555-1B03-2B62-4AD3622005FA}"/>
          </ac:spMkLst>
        </pc:spChg>
        <pc:spChg chg="mod">
          <ac:chgData name="Gasteiger, Cassidy M" userId="49e4247d-81de-4625-ae16-f189e0b7e529" providerId="ADAL" clId="{EFB976C6-EC52-4602-90C8-86B8954E5255}" dt="2023-03-20T20:35:56.029" v="278"/>
          <ac:spMkLst>
            <pc:docMk/>
            <pc:sldMk cId="2860769231" sldId="314"/>
            <ac:spMk id="13" creationId="{3544B9BB-D1EA-DF36-9920-A0BAF5D53486}"/>
          </ac:spMkLst>
        </pc:spChg>
        <pc:spChg chg="mod">
          <ac:chgData name="Gasteiger, Cassidy M" userId="49e4247d-81de-4625-ae16-f189e0b7e529" providerId="ADAL" clId="{EFB976C6-EC52-4602-90C8-86B8954E5255}" dt="2023-03-20T20:55:54.957" v="296" actId="207"/>
          <ac:spMkLst>
            <pc:docMk/>
            <pc:sldMk cId="2860769231" sldId="314"/>
            <ac:spMk id="15" creationId="{1AE94B59-9087-3A30-3ED4-D89E737D2B60}"/>
          </ac:spMkLst>
        </pc:spChg>
        <pc:spChg chg="mod">
          <ac:chgData name="Gasteiger, Cassidy M" userId="49e4247d-81de-4625-ae16-f189e0b7e529" providerId="ADAL" clId="{EFB976C6-EC52-4602-90C8-86B8954E5255}" dt="2023-03-20T19:32:07.355" v="138" actId="20577"/>
          <ac:spMkLst>
            <pc:docMk/>
            <pc:sldMk cId="2860769231" sldId="314"/>
            <ac:spMk id="16" creationId="{19AF8C1E-C8DE-5A65-D0AC-D474A921EA1F}"/>
          </ac:spMkLst>
        </pc:spChg>
        <pc:spChg chg="mod">
          <ac:chgData name="Gasteiger, Cassidy M" userId="49e4247d-81de-4625-ae16-f189e0b7e529" providerId="ADAL" clId="{EFB976C6-EC52-4602-90C8-86B8954E5255}" dt="2023-03-20T20:55:59.194" v="297" actId="207"/>
          <ac:spMkLst>
            <pc:docMk/>
            <pc:sldMk cId="2860769231" sldId="314"/>
            <ac:spMk id="17" creationId="{EE3D9B4D-EF3A-89E3-35C8-548C7C288FF7}"/>
          </ac:spMkLst>
        </pc:spChg>
        <pc:spChg chg="mod">
          <ac:chgData name="Gasteiger, Cassidy M" userId="49e4247d-81de-4625-ae16-f189e0b7e529" providerId="ADAL" clId="{EFB976C6-EC52-4602-90C8-86B8954E5255}" dt="2023-03-29T17:00:11.971" v="11810"/>
          <ac:spMkLst>
            <pc:docMk/>
            <pc:sldMk cId="2860769231" sldId="314"/>
            <ac:spMk id="18" creationId="{01C5DA3C-9EBB-5B5B-CC2D-58F1CFB12BBB}"/>
          </ac:spMkLst>
        </pc:spChg>
        <pc:spChg chg="mod">
          <ac:chgData name="Gasteiger, Cassidy M" userId="49e4247d-81de-4625-ae16-f189e0b7e529" providerId="ADAL" clId="{EFB976C6-EC52-4602-90C8-86B8954E5255}" dt="2023-03-20T20:56:03.208" v="298" actId="207"/>
          <ac:spMkLst>
            <pc:docMk/>
            <pc:sldMk cId="2860769231" sldId="314"/>
            <ac:spMk id="19" creationId="{8615E72A-AF87-57B2-D90A-AF13671EEF9E}"/>
          </ac:spMkLst>
        </pc:spChg>
        <pc:spChg chg="mod">
          <ac:chgData name="Gasteiger, Cassidy M" userId="49e4247d-81de-4625-ae16-f189e0b7e529" providerId="ADAL" clId="{EFB976C6-EC52-4602-90C8-86B8954E5255}" dt="2023-03-20T19:32:44.130" v="233" actId="20577"/>
          <ac:spMkLst>
            <pc:docMk/>
            <pc:sldMk cId="2860769231" sldId="314"/>
            <ac:spMk id="20" creationId="{89BAC1AB-EB28-1CB4-BF7F-CD04671B2342}"/>
          </ac:spMkLst>
        </pc:spChg>
        <pc:spChg chg="mod">
          <ac:chgData name="Gasteiger, Cassidy M" userId="49e4247d-81de-4625-ae16-f189e0b7e529" providerId="ADAL" clId="{EFB976C6-EC52-4602-90C8-86B8954E5255}" dt="2023-03-20T20:35:56.029" v="278"/>
          <ac:spMkLst>
            <pc:docMk/>
            <pc:sldMk cId="2860769231" sldId="314"/>
            <ac:spMk id="22" creationId="{046E19D2-6D07-FA58-0FAC-9958BEB3B66F}"/>
          </ac:spMkLst>
        </pc:spChg>
        <pc:spChg chg="mod">
          <ac:chgData name="Gasteiger, Cassidy M" userId="49e4247d-81de-4625-ae16-f189e0b7e529" providerId="ADAL" clId="{EFB976C6-EC52-4602-90C8-86B8954E5255}" dt="2023-03-20T20:56:13.093" v="300" actId="207"/>
          <ac:spMkLst>
            <pc:docMk/>
            <pc:sldMk cId="2860769231" sldId="314"/>
            <ac:spMk id="23" creationId="{8B640B9C-CF5D-CC53-E126-FAB84A48F81D}"/>
          </ac:spMkLst>
        </pc:spChg>
        <pc:spChg chg="mod">
          <ac:chgData name="Gasteiger, Cassidy M" userId="49e4247d-81de-4625-ae16-f189e0b7e529" providerId="ADAL" clId="{EFB976C6-EC52-4602-90C8-86B8954E5255}" dt="2023-03-20T20:35:56.029" v="278"/>
          <ac:spMkLst>
            <pc:docMk/>
            <pc:sldMk cId="2860769231" sldId="314"/>
            <ac:spMk id="24" creationId="{05F8C07C-F3E1-2711-1AF6-0F6543F26CC4}"/>
          </ac:spMkLst>
        </pc:spChg>
        <pc:spChg chg="mod">
          <ac:chgData name="Gasteiger, Cassidy M" userId="49e4247d-81de-4625-ae16-f189e0b7e529" providerId="ADAL" clId="{EFB976C6-EC52-4602-90C8-86B8954E5255}" dt="2023-03-20T20:35:56.029" v="278"/>
          <ac:spMkLst>
            <pc:docMk/>
            <pc:sldMk cId="2860769231" sldId="314"/>
            <ac:spMk id="26" creationId="{DF717278-8FA2-6582-591A-12C22BE2BF76}"/>
          </ac:spMkLst>
        </pc:spChg>
        <pc:spChg chg="mod">
          <ac:chgData name="Gasteiger, Cassidy M" userId="49e4247d-81de-4625-ae16-f189e0b7e529" providerId="ADAL" clId="{EFB976C6-EC52-4602-90C8-86B8954E5255}" dt="2023-03-20T20:35:56.029" v="278"/>
          <ac:spMkLst>
            <pc:docMk/>
            <pc:sldMk cId="2860769231" sldId="314"/>
            <ac:spMk id="27" creationId="{702D7C7E-5B53-D1E1-1C21-D0F982764E38}"/>
          </ac:spMkLst>
        </pc:spChg>
        <pc:grpChg chg="add mod">
          <ac:chgData name="Gasteiger, Cassidy M" userId="49e4247d-81de-4625-ae16-f189e0b7e529" providerId="ADAL" clId="{EFB976C6-EC52-4602-90C8-86B8954E5255}" dt="2023-03-20T20:35:56.029" v="278"/>
          <ac:grpSpMkLst>
            <pc:docMk/>
            <pc:sldMk cId="2860769231" sldId="314"/>
            <ac:grpSpMk id="4" creationId="{A623DE95-88E5-499A-8B12-4186614D3899}"/>
          </ac:grpSpMkLst>
        </pc:grpChg>
        <pc:grpChg chg="add mod">
          <ac:chgData name="Gasteiger, Cassidy M" userId="49e4247d-81de-4625-ae16-f189e0b7e529" providerId="ADAL" clId="{EFB976C6-EC52-4602-90C8-86B8954E5255}" dt="2023-03-20T20:35:56.029" v="278"/>
          <ac:grpSpMkLst>
            <pc:docMk/>
            <pc:sldMk cId="2860769231" sldId="314"/>
            <ac:grpSpMk id="11" creationId="{3159D46D-A3D8-5778-2BE6-DF79F32D4325}"/>
          </ac:grpSpMkLst>
        </pc:grpChg>
        <pc:grpChg chg="add mod">
          <ac:chgData name="Gasteiger, Cassidy M" userId="49e4247d-81de-4625-ae16-f189e0b7e529" providerId="ADAL" clId="{EFB976C6-EC52-4602-90C8-86B8954E5255}" dt="2023-03-20T20:35:56.029" v="278"/>
          <ac:grpSpMkLst>
            <pc:docMk/>
            <pc:sldMk cId="2860769231" sldId="314"/>
            <ac:grpSpMk id="21" creationId="{3A7C8EA4-BABF-2303-9137-B1B18107DFC0}"/>
          </ac:grpSpMkLst>
        </pc:grpChg>
        <pc:grpChg chg="add mod">
          <ac:chgData name="Gasteiger, Cassidy M" userId="49e4247d-81de-4625-ae16-f189e0b7e529" providerId="ADAL" clId="{EFB976C6-EC52-4602-90C8-86B8954E5255}" dt="2023-03-20T20:35:56.029" v="278"/>
          <ac:grpSpMkLst>
            <pc:docMk/>
            <pc:sldMk cId="2860769231" sldId="314"/>
            <ac:grpSpMk id="25" creationId="{37B11C27-00F0-3762-508E-B661363587FA}"/>
          </ac:grpSpMkLst>
        </pc:grpChg>
        <pc:picChg chg="del">
          <ac:chgData name="Gasteiger, Cassidy M" userId="49e4247d-81de-4625-ae16-f189e0b7e529" providerId="ADAL" clId="{EFB976C6-EC52-4602-90C8-86B8954E5255}" dt="2023-03-20T18:12:37.669" v="3" actId="478"/>
          <ac:picMkLst>
            <pc:docMk/>
            <pc:sldMk cId="2860769231" sldId="314"/>
            <ac:picMk id="7" creationId="{3F073039-10C4-64E9-3674-994A4A1021F9}"/>
          </ac:picMkLst>
        </pc:picChg>
      </pc:sldChg>
      <pc:sldChg chg="del">
        <pc:chgData name="Gasteiger, Cassidy M" userId="49e4247d-81de-4625-ae16-f189e0b7e529" providerId="ADAL" clId="{EFB976C6-EC52-4602-90C8-86B8954E5255}" dt="2023-03-20T20:09:34.971" v="242" actId="2696"/>
        <pc:sldMkLst>
          <pc:docMk/>
          <pc:sldMk cId="3380292571" sldId="315"/>
        </pc:sldMkLst>
      </pc:sldChg>
      <pc:sldChg chg="addSp delSp modSp mod ord delAnim">
        <pc:chgData name="Gasteiger, Cassidy M" userId="49e4247d-81de-4625-ae16-f189e0b7e529" providerId="ADAL" clId="{EFB976C6-EC52-4602-90C8-86B8954E5255}" dt="2023-03-31T02:46:34.941" v="40997" actId="478"/>
        <pc:sldMkLst>
          <pc:docMk/>
          <pc:sldMk cId="3564174657" sldId="316"/>
        </pc:sldMkLst>
        <pc:spChg chg="add del mod">
          <ac:chgData name="Gasteiger, Cassidy M" userId="49e4247d-81de-4625-ae16-f189e0b7e529" providerId="ADAL" clId="{EFB976C6-EC52-4602-90C8-86B8954E5255}" dt="2023-03-26T04:08:16.332" v="1432" actId="478"/>
          <ac:spMkLst>
            <pc:docMk/>
            <pc:sldMk cId="3564174657" sldId="316"/>
            <ac:spMk id="2" creationId="{78C6D395-058C-2752-140B-94EBD5C3A5C4}"/>
          </ac:spMkLst>
        </pc:spChg>
        <pc:spChg chg="mod">
          <ac:chgData name="Gasteiger, Cassidy M" userId="49e4247d-81de-4625-ae16-f189e0b7e529" providerId="ADAL" clId="{EFB976C6-EC52-4602-90C8-86B8954E5255}" dt="2023-03-26T03:59:34.615" v="986" actId="1036"/>
          <ac:spMkLst>
            <pc:docMk/>
            <pc:sldMk cId="3564174657" sldId="316"/>
            <ac:spMk id="3" creationId="{B0015BB9-4D3B-385A-0852-A3C9447D33C3}"/>
          </ac:spMkLst>
        </pc:spChg>
        <pc:spChg chg="mod">
          <ac:chgData name="Gasteiger, Cassidy M" userId="49e4247d-81de-4625-ae16-f189e0b7e529" providerId="ADAL" clId="{EFB976C6-EC52-4602-90C8-86B8954E5255}" dt="2023-03-30T15:24:29.794" v="23073"/>
          <ac:spMkLst>
            <pc:docMk/>
            <pc:sldMk cId="3564174657" sldId="316"/>
            <ac:spMk id="4" creationId="{CE2D5446-F986-927A-7E6B-2B0951D58D54}"/>
          </ac:spMkLst>
        </pc:spChg>
        <pc:spChg chg="mod">
          <ac:chgData name="Gasteiger, Cassidy M" userId="49e4247d-81de-4625-ae16-f189e0b7e529" providerId="ADAL" clId="{EFB976C6-EC52-4602-90C8-86B8954E5255}" dt="2023-03-26T03:58:39.499" v="960" actId="207"/>
          <ac:spMkLst>
            <pc:docMk/>
            <pc:sldMk cId="3564174657" sldId="316"/>
            <ac:spMk id="5" creationId="{970CB71F-7429-DE68-D6B2-C61491A14A12}"/>
          </ac:spMkLst>
        </pc:spChg>
        <pc:spChg chg="mod">
          <ac:chgData name="Gasteiger, Cassidy M" userId="49e4247d-81de-4625-ae16-f189e0b7e529" providerId="ADAL" clId="{EFB976C6-EC52-4602-90C8-86B8954E5255}" dt="2023-03-30T15:24:29.794" v="23073"/>
          <ac:spMkLst>
            <pc:docMk/>
            <pc:sldMk cId="3564174657" sldId="316"/>
            <ac:spMk id="5" creationId="{F8C4D2EB-71FD-253D-8084-D2D8A2F7B1F6}"/>
          </ac:spMkLst>
        </pc:spChg>
        <pc:spChg chg="mod">
          <ac:chgData name="Gasteiger, Cassidy M" userId="49e4247d-81de-4625-ae16-f189e0b7e529" providerId="ADAL" clId="{EFB976C6-EC52-4602-90C8-86B8954E5255}" dt="2023-03-26T22:28:14.426" v="3244" actId="1076"/>
          <ac:spMkLst>
            <pc:docMk/>
            <pc:sldMk cId="3564174657" sldId="316"/>
            <ac:spMk id="8" creationId="{7CB94DCB-1536-42A8-0BC0-3CBD2935E921}"/>
          </ac:spMkLst>
        </pc:spChg>
        <pc:spChg chg="mod">
          <ac:chgData name="Gasteiger, Cassidy M" userId="49e4247d-81de-4625-ae16-f189e0b7e529" providerId="ADAL" clId="{EFB976C6-EC52-4602-90C8-86B8954E5255}" dt="2023-03-26T04:01:18.790" v="1007" actId="207"/>
          <ac:spMkLst>
            <pc:docMk/>
            <pc:sldMk cId="3564174657" sldId="316"/>
            <ac:spMk id="10" creationId="{ED23C371-8B83-5A54-5F24-122845D61A65}"/>
          </ac:spMkLst>
        </pc:spChg>
        <pc:spChg chg="mod">
          <ac:chgData name="Gasteiger, Cassidy M" userId="49e4247d-81de-4625-ae16-f189e0b7e529" providerId="ADAL" clId="{EFB976C6-EC52-4602-90C8-86B8954E5255}" dt="2023-03-26T04:01:13.287" v="1006" actId="207"/>
          <ac:spMkLst>
            <pc:docMk/>
            <pc:sldMk cId="3564174657" sldId="316"/>
            <ac:spMk id="11" creationId="{0F37D6EB-3653-2C96-D176-F5C823E1D9FD}"/>
          </ac:spMkLst>
        </pc:spChg>
        <pc:spChg chg="mod">
          <ac:chgData name="Gasteiger, Cassidy M" userId="49e4247d-81de-4625-ae16-f189e0b7e529" providerId="ADAL" clId="{EFB976C6-EC52-4602-90C8-86B8954E5255}" dt="2023-03-26T03:59:39.772" v="987" actId="1076"/>
          <ac:spMkLst>
            <pc:docMk/>
            <pc:sldMk cId="3564174657" sldId="316"/>
            <ac:spMk id="12" creationId="{011F7653-5A36-0928-53F9-805A4385B951}"/>
          </ac:spMkLst>
        </pc:spChg>
        <pc:spChg chg="mod">
          <ac:chgData name="Gasteiger, Cassidy M" userId="49e4247d-81de-4625-ae16-f189e0b7e529" providerId="ADAL" clId="{EFB976C6-EC52-4602-90C8-86B8954E5255}" dt="2023-03-26T03:59:45.870" v="989" actId="1076"/>
          <ac:spMkLst>
            <pc:docMk/>
            <pc:sldMk cId="3564174657" sldId="316"/>
            <ac:spMk id="13" creationId="{DE5C7BC0-C90B-206D-67B9-ECAEE39F4D71}"/>
          </ac:spMkLst>
        </pc:spChg>
        <pc:spChg chg="mod">
          <ac:chgData name="Gasteiger, Cassidy M" userId="49e4247d-81de-4625-ae16-f189e0b7e529" providerId="ADAL" clId="{EFB976C6-EC52-4602-90C8-86B8954E5255}" dt="2023-03-26T03:59:42.987" v="988" actId="1076"/>
          <ac:spMkLst>
            <pc:docMk/>
            <pc:sldMk cId="3564174657" sldId="316"/>
            <ac:spMk id="14" creationId="{0780E47A-82BB-E7C7-AB48-8926682C1AF6}"/>
          </ac:spMkLst>
        </pc:spChg>
        <pc:spChg chg="add del mod">
          <ac:chgData name="Gasteiger, Cassidy M" userId="49e4247d-81de-4625-ae16-f189e0b7e529" providerId="ADAL" clId="{EFB976C6-EC52-4602-90C8-86B8954E5255}" dt="2023-03-26T04:08:16.332" v="1432" actId="478"/>
          <ac:spMkLst>
            <pc:docMk/>
            <pc:sldMk cId="3564174657" sldId="316"/>
            <ac:spMk id="15" creationId="{0F95B968-440C-6E3E-7888-55EE2F7F9CAB}"/>
          </ac:spMkLst>
        </pc:spChg>
        <pc:spChg chg="mod">
          <ac:chgData name="Gasteiger, Cassidy M" userId="49e4247d-81de-4625-ae16-f189e0b7e529" providerId="ADAL" clId="{EFB976C6-EC52-4602-90C8-86B8954E5255}" dt="2023-03-26T04:00:23.292" v="994" actId="207"/>
          <ac:spMkLst>
            <pc:docMk/>
            <pc:sldMk cId="3564174657" sldId="316"/>
            <ac:spMk id="18" creationId="{0D730713-17B9-DC29-C07A-AB010B7D5667}"/>
          </ac:spMkLst>
        </pc:spChg>
        <pc:spChg chg="add del mod">
          <ac:chgData name="Gasteiger, Cassidy M" userId="49e4247d-81de-4625-ae16-f189e0b7e529" providerId="ADAL" clId="{EFB976C6-EC52-4602-90C8-86B8954E5255}" dt="2023-03-30T15:24:29.311" v="23072" actId="478"/>
          <ac:spMkLst>
            <pc:docMk/>
            <pc:sldMk cId="3564174657" sldId="316"/>
            <ac:spMk id="20" creationId="{F7CAC9F3-E50C-DEC6-2D4C-5D94AED1D13C}"/>
          </ac:spMkLst>
        </pc:spChg>
        <pc:spChg chg="mod">
          <ac:chgData name="Gasteiger, Cassidy M" userId="49e4247d-81de-4625-ae16-f189e0b7e529" providerId="ADAL" clId="{EFB976C6-EC52-4602-90C8-86B8954E5255}" dt="2023-03-26T04:00:35.733" v="997" actId="207"/>
          <ac:spMkLst>
            <pc:docMk/>
            <pc:sldMk cId="3564174657" sldId="316"/>
            <ac:spMk id="22" creationId="{A4F1607A-1968-4893-4B90-2B2157A8DC7B}"/>
          </ac:spMkLst>
        </pc:spChg>
        <pc:spChg chg="add del mod">
          <ac:chgData name="Gasteiger, Cassidy M" userId="49e4247d-81de-4625-ae16-f189e0b7e529" providerId="ADAL" clId="{EFB976C6-EC52-4602-90C8-86B8954E5255}" dt="2023-03-30T15:24:29.311" v="23072" actId="478"/>
          <ac:spMkLst>
            <pc:docMk/>
            <pc:sldMk cId="3564174657" sldId="316"/>
            <ac:spMk id="25" creationId="{06AC0BC8-AC9F-0DDA-4F76-39EAD5D5C884}"/>
          </ac:spMkLst>
        </pc:spChg>
        <pc:spChg chg="add del mod">
          <ac:chgData name="Gasteiger, Cassidy M" userId="49e4247d-81de-4625-ae16-f189e0b7e529" providerId="ADAL" clId="{EFB976C6-EC52-4602-90C8-86B8954E5255}" dt="2023-03-30T15:24:29.311" v="23072" actId="478"/>
          <ac:spMkLst>
            <pc:docMk/>
            <pc:sldMk cId="3564174657" sldId="316"/>
            <ac:spMk id="26" creationId="{BE16A66C-E01C-B751-F916-208737F6B9FF}"/>
          </ac:spMkLst>
        </pc:spChg>
        <pc:spChg chg="add del mod">
          <ac:chgData name="Gasteiger, Cassidy M" userId="49e4247d-81de-4625-ae16-f189e0b7e529" providerId="ADAL" clId="{EFB976C6-EC52-4602-90C8-86B8954E5255}" dt="2023-03-30T15:24:29.311" v="23072" actId="478"/>
          <ac:spMkLst>
            <pc:docMk/>
            <pc:sldMk cId="3564174657" sldId="316"/>
            <ac:spMk id="29" creationId="{41CCD022-EBF8-0E92-22BF-DA41604BCE67}"/>
          </ac:spMkLst>
        </pc:spChg>
        <pc:spChg chg="mod">
          <ac:chgData name="Gasteiger, Cassidy M" userId="49e4247d-81de-4625-ae16-f189e0b7e529" providerId="ADAL" clId="{EFB976C6-EC52-4602-90C8-86B8954E5255}" dt="2023-03-26T04:00:13.629" v="993" actId="208"/>
          <ac:spMkLst>
            <pc:docMk/>
            <pc:sldMk cId="3564174657" sldId="316"/>
            <ac:spMk id="44" creationId="{3C2973D5-22A0-7441-E172-AB2D6C2A4199}"/>
          </ac:spMkLst>
        </pc:spChg>
        <pc:spChg chg="mod">
          <ac:chgData name="Gasteiger, Cassidy M" userId="49e4247d-81de-4625-ae16-f189e0b7e529" providerId="ADAL" clId="{EFB976C6-EC52-4602-90C8-86B8954E5255}" dt="2023-03-26T04:00:08.439" v="992" actId="208"/>
          <ac:spMkLst>
            <pc:docMk/>
            <pc:sldMk cId="3564174657" sldId="316"/>
            <ac:spMk id="46" creationId="{C0B41C4D-D01F-19D2-5743-6FE117DF3FB4}"/>
          </ac:spMkLst>
        </pc:spChg>
        <pc:spChg chg="mod">
          <ac:chgData name="Gasteiger, Cassidy M" userId="49e4247d-81de-4625-ae16-f189e0b7e529" providerId="ADAL" clId="{EFB976C6-EC52-4602-90C8-86B8954E5255}" dt="2023-03-26T03:59:59.332" v="991" actId="208"/>
          <ac:spMkLst>
            <pc:docMk/>
            <pc:sldMk cId="3564174657" sldId="316"/>
            <ac:spMk id="48" creationId="{365B6DC7-D352-928E-A953-6D660012CCB4}"/>
          </ac:spMkLst>
        </pc:spChg>
        <pc:spChg chg="mod">
          <ac:chgData name="Gasteiger, Cassidy M" userId="49e4247d-81de-4625-ae16-f189e0b7e529" providerId="ADAL" clId="{EFB976C6-EC52-4602-90C8-86B8954E5255}" dt="2023-03-26T03:59:53.395" v="990" actId="208"/>
          <ac:spMkLst>
            <pc:docMk/>
            <pc:sldMk cId="3564174657" sldId="316"/>
            <ac:spMk id="50" creationId="{22DBC7FA-1527-06FA-AAAE-5EF14F612625}"/>
          </ac:spMkLst>
        </pc:spChg>
        <pc:spChg chg="mod">
          <ac:chgData name="Gasteiger, Cassidy M" userId="49e4247d-81de-4625-ae16-f189e0b7e529" providerId="ADAL" clId="{EFB976C6-EC52-4602-90C8-86B8954E5255}" dt="2023-03-26T04:00:57.720" v="1003" actId="207"/>
          <ac:spMkLst>
            <pc:docMk/>
            <pc:sldMk cId="3564174657" sldId="316"/>
            <ac:spMk id="55" creationId="{33B1CF3D-8A58-D757-8712-61275B45DA05}"/>
          </ac:spMkLst>
        </pc:spChg>
        <pc:spChg chg="mod">
          <ac:chgData name="Gasteiger, Cassidy M" userId="49e4247d-81de-4625-ae16-f189e0b7e529" providerId="ADAL" clId="{EFB976C6-EC52-4602-90C8-86B8954E5255}" dt="2023-03-26T04:00:52.716" v="1002" actId="207"/>
          <ac:spMkLst>
            <pc:docMk/>
            <pc:sldMk cId="3564174657" sldId="316"/>
            <ac:spMk id="56" creationId="{337FA42F-117E-E5DD-FDF1-B87B8D8CCE44}"/>
          </ac:spMkLst>
        </pc:spChg>
        <pc:spChg chg="mod">
          <ac:chgData name="Gasteiger, Cassidy M" userId="49e4247d-81de-4625-ae16-f189e0b7e529" providerId="ADAL" clId="{EFB976C6-EC52-4602-90C8-86B8954E5255}" dt="2023-03-26T04:01:35.574" v="1029" actId="20577"/>
          <ac:spMkLst>
            <pc:docMk/>
            <pc:sldMk cId="3564174657" sldId="316"/>
            <ac:spMk id="57" creationId="{500EB6FE-2D80-927E-C159-D3602393D268}"/>
          </ac:spMkLst>
        </pc:spChg>
        <pc:spChg chg="mod">
          <ac:chgData name="Gasteiger, Cassidy M" userId="49e4247d-81de-4625-ae16-f189e0b7e529" providerId="ADAL" clId="{EFB976C6-EC52-4602-90C8-86B8954E5255}" dt="2023-03-26T03:58:23.204" v="959" actId="1076"/>
          <ac:spMkLst>
            <pc:docMk/>
            <pc:sldMk cId="3564174657" sldId="316"/>
            <ac:spMk id="235" creationId="{00000000-0000-0000-0000-000000000000}"/>
          </ac:spMkLst>
        </pc:spChg>
        <pc:grpChg chg="add del mod">
          <ac:chgData name="Gasteiger, Cassidy M" userId="49e4247d-81de-4625-ae16-f189e0b7e529" providerId="ADAL" clId="{EFB976C6-EC52-4602-90C8-86B8954E5255}" dt="2023-03-31T02:46:34.941" v="40997" actId="478"/>
          <ac:grpSpMkLst>
            <pc:docMk/>
            <pc:sldMk cId="3564174657" sldId="316"/>
            <ac:grpSpMk id="2" creationId="{D26E5E82-9FD6-4562-0933-2CC1C7ED8D83}"/>
          </ac:grpSpMkLst>
        </pc:grpChg>
        <pc:grpChg chg="del">
          <ac:chgData name="Gasteiger, Cassidy M" userId="49e4247d-81de-4625-ae16-f189e0b7e529" providerId="ADAL" clId="{EFB976C6-EC52-4602-90C8-86B8954E5255}" dt="2023-03-26T03:59:14.697" v="971" actId="478"/>
          <ac:grpSpMkLst>
            <pc:docMk/>
            <pc:sldMk cId="3564174657" sldId="316"/>
            <ac:grpSpMk id="7" creationId="{841D7269-2320-EB0C-1BB8-E1A8DB774CBD}"/>
          </ac:grpSpMkLst>
        </pc:grpChg>
        <pc:grpChg chg="mod">
          <ac:chgData name="Gasteiger, Cassidy M" userId="49e4247d-81de-4625-ae16-f189e0b7e529" providerId="ADAL" clId="{EFB976C6-EC52-4602-90C8-86B8954E5255}" dt="2023-03-26T04:01:13.287" v="1006" actId="207"/>
          <ac:grpSpMkLst>
            <pc:docMk/>
            <pc:sldMk cId="3564174657" sldId="316"/>
            <ac:grpSpMk id="9" creationId="{8B706DEC-2D95-9F26-CDD1-F38086B1DE10}"/>
          </ac:grpSpMkLst>
        </pc:grpChg>
        <pc:grpChg chg="mod">
          <ac:chgData name="Gasteiger, Cassidy M" userId="49e4247d-81de-4625-ae16-f189e0b7e529" providerId="ADAL" clId="{EFB976C6-EC52-4602-90C8-86B8954E5255}" dt="2023-03-26T04:01:13.287" v="1006" actId="207"/>
          <ac:grpSpMkLst>
            <pc:docMk/>
            <pc:sldMk cId="3564174657" sldId="316"/>
            <ac:grpSpMk id="38" creationId="{3DF3BA44-4FF5-69D2-21F0-C86AD1E6A4A0}"/>
          </ac:grpSpMkLst>
        </pc:grpChg>
        <pc:grpChg chg="mod">
          <ac:chgData name="Gasteiger, Cassidy M" userId="49e4247d-81de-4625-ae16-f189e0b7e529" providerId="ADAL" clId="{EFB976C6-EC52-4602-90C8-86B8954E5255}" dt="2023-03-26T04:00:52.716" v="1002" actId="207"/>
          <ac:grpSpMkLst>
            <pc:docMk/>
            <pc:sldMk cId="3564174657" sldId="316"/>
            <ac:grpSpMk id="52" creationId="{E6FB9A59-38A6-EFD5-44C3-8617B1404A21}"/>
          </ac:grpSpMkLst>
        </pc:grpChg>
        <pc:grpChg chg="mod">
          <ac:chgData name="Gasteiger, Cassidy M" userId="49e4247d-81de-4625-ae16-f189e0b7e529" providerId="ADAL" clId="{EFB976C6-EC52-4602-90C8-86B8954E5255}" dt="2023-03-26T04:00:52.716" v="1002" actId="207"/>
          <ac:grpSpMkLst>
            <pc:docMk/>
            <pc:sldMk cId="3564174657" sldId="316"/>
            <ac:grpSpMk id="53" creationId="{307C1764-4D61-8B45-CF4B-B84CC1C9742A}"/>
          </ac:grpSpMkLst>
        </pc:grpChg>
        <pc:picChg chg="mod">
          <ac:chgData name="Gasteiger, Cassidy M" userId="49e4247d-81de-4625-ae16-f189e0b7e529" providerId="ADAL" clId="{EFB976C6-EC52-4602-90C8-86B8954E5255}" dt="2023-03-26T03:58:43.559" v="961" actId="207"/>
          <ac:picMkLst>
            <pc:docMk/>
            <pc:sldMk cId="3564174657" sldId="316"/>
            <ac:picMk id="4" creationId="{5C4A23E6-7C9C-AB9A-EBDC-48D1CF0493BA}"/>
          </ac:picMkLst>
        </pc:picChg>
        <pc:picChg chg="add del mod">
          <ac:chgData name="Gasteiger, Cassidy M" userId="49e4247d-81de-4625-ae16-f189e0b7e529" providerId="ADAL" clId="{EFB976C6-EC52-4602-90C8-86B8954E5255}" dt="2023-03-26T04:08:16.332" v="1432" actId="478"/>
          <ac:picMkLst>
            <pc:docMk/>
            <pc:sldMk cId="3564174657" sldId="316"/>
            <ac:picMk id="16" creationId="{E02AAB4C-F8E2-26D4-EE4E-0B6D3904D6B8}"/>
          </ac:picMkLst>
        </pc:picChg>
        <pc:picChg chg="del">
          <ac:chgData name="Gasteiger, Cassidy M" userId="49e4247d-81de-4625-ae16-f189e0b7e529" providerId="ADAL" clId="{EFB976C6-EC52-4602-90C8-86B8954E5255}" dt="2023-03-20T18:13:15.632" v="13" actId="478"/>
          <ac:picMkLst>
            <pc:docMk/>
            <pc:sldMk cId="3564174657" sldId="316"/>
            <ac:picMk id="24" creationId="{B0DC766B-D5BA-9364-495B-AF8C54BB23FE}"/>
          </ac:picMkLst>
        </pc:picChg>
        <pc:picChg chg="add del mod">
          <ac:chgData name="Gasteiger, Cassidy M" userId="49e4247d-81de-4625-ae16-f189e0b7e529" providerId="ADAL" clId="{EFB976C6-EC52-4602-90C8-86B8954E5255}" dt="2023-03-30T15:24:29.311" v="23072" actId="478"/>
          <ac:picMkLst>
            <pc:docMk/>
            <pc:sldMk cId="3564174657" sldId="316"/>
            <ac:picMk id="27" creationId="{A3816A63-A98B-DD23-0F43-41D4A283CD1A}"/>
          </ac:picMkLst>
        </pc:picChg>
        <pc:picChg chg="mod">
          <ac:chgData name="Gasteiger, Cassidy M" userId="49e4247d-81de-4625-ae16-f189e0b7e529" providerId="ADAL" clId="{EFB976C6-EC52-4602-90C8-86B8954E5255}" dt="2023-03-26T04:01:13.287" v="1006" actId="207"/>
          <ac:picMkLst>
            <pc:docMk/>
            <pc:sldMk cId="3564174657" sldId="316"/>
            <ac:picMk id="28" creationId="{4CE063ED-C03D-39E9-E8E0-6EBCD04778C3}"/>
          </ac:picMkLst>
        </pc:picChg>
        <pc:picChg chg="mod">
          <ac:chgData name="Gasteiger, Cassidy M" userId="49e4247d-81de-4625-ae16-f189e0b7e529" providerId="ADAL" clId="{EFB976C6-EC52-4602-90C8-86B8954E5255}" dt="2023-03-26T04:00:27.115" v="995" actId="207"/>
          <ac:picMkLst>
            <pc:docMk/>
            <pc:sldMk cId="3564174657" sldId="316"/>
            <ac:picMk id="30" creationId="{A5604A16-335A-8612-2D1F-662F0D12CAF3}"/>
          </ac:picMkLst>
        </pc:picChg>
        <pc:picChg chg="mod">
          <ac:chgData name="Gasteiger, Cassidy M" userId="49e4247d-81de-4625-ae16-f189e0b7e529" providerId="ADAL" clId="{EFB976C6-EC52-4602-90C8-86B8954E5255}" dt="2023-03-26T04:00:31.527" v="996" actId="207"/>
          <ac:picMkLst>
            <pc:docMk/>
            <pc:sldMk cId="3564174657" sldId="316"/>
            <ac:picMk id="41" creationId="{BC73680A-59DE-52FC-3C09-EEF604FA4249}"/>
          </ac:picMkLst>
        </pc:picChg>
        <pc:picChg chg="mod">
          <ac:chgData name="Gasteiger, Cassidy M" userId="49e4247d-81de-4625-ae16-f189e0b7e529" providerId="ADAL" clId="{EFB976C6-EC52-4602-90C8-86B8954E5255}" dt="2023-03-26T04:00:52.716" v="1002" actId="207"/>
          <ac:picMkLst>
            <pc:docMk/>
            <pc:sldMk cId="3564174657" sldId="316"/>
            <ac:picMk id="54" creationId="{CB82F77A-E39C-5164-4752-AB66CF90EB77}"/>
          </ac:picMkLst>
        </pc:picChg>
      </pc:sldChg>
      <pc:sldChg chg="del">
        <pc:chgData name="Gasteiger, Cassidy M" userId="49e4247d-81de-4625-ae16-f189e0b7e529" providerId="ADAL" clId="{EFB976C6-EC52-4602-90C8-86B8954E5255}" dt="2023-03-20T21:11:32.958" v="478" actId="2696"/>
        <pc:sldMkLst>
          <pc:docMk/>
          <pc:sldMk cId="981659511" sldId="321"/>
        </pc:sldMkLst>
      </pc:sldChg>
      <pc:sldChg chg="del">
        <pc:chgData name="Gasteiger, Cassidy M" userId="49e4247d-81de-4625-ae16-f189e0b7e529" providerId="ADAL" clId="{EFB976C6-EC52-4602-90C8-86B8954E5255}" dt="2023-03-20T21:11:44.563" v="482" actId="2696"/>
        <pc:sldMkLst>
          <pc:docMk/>
          <pc:sldMk cId="2251857950" sldId="322"/>
        </pc:sldMkLst>
      </pc:sldChg>
      <pc:sldChg chg="addSp delSp modSp mod delAnim">
        <pc:chgData name="Gasteiger, Cassidy M" userId="49e4247d-81de-4625-ae16-f189e0b7e529" providerId="ADAL" clId="{EFB976C6-EC52-4602-90C8-86B8954E5255}" dt="2023-03-31T02:46:47.642" v="41000" actId="20577"/>
        <pc:sldMkLst>
          <pc:docMk/>
          <pc:sldMk cId="1435347701" sldId="323"/>
        </pc:sldMkLst>
        <pc:spChg chg="add del mod">
          <ac:chgData name="Gasteiger, Cassidy M" userId="49e4247d-81de-4625-ae16-f189e0b7e529" providerId="ADAL" clId="{EFB976C6-EC52-4602-90C8-86B8954E5255}" dt="2023-03-26T04:12:07.460" v="1618" actId="478"/>
          <ac:spMkLst>
            <pc:docMk/>
            <pc:sldMk cId="1435347701" sldId="323"/>
            <ac:spMk id="2" creationId="{0DAA2CFE-3D09-6329-8A3A-C6445AF0E1C7}"/>
          </ac:spMkLst>
        </pc:spChg>
        <pc:spChg chg="del">
          <ac:chgData name="Gasteiger, Cassidy M" userId="49e4247d-81de-4625-ae16-f189e0b7e529" providerId="ADAL" clId="{EFB976C6-EC52-4602-90C8-86B8954E5255}" dt="2023-03-26T04:07:36.712" v="1402" actId="478"/>
          <ac:spMkLst>
            <pc:docMk/>
            <pc:sldMk cId="1435347701" sldId="323"/>
            <ac:spMk id="3" creationId="{03D68723-443D-3F63-938C-37B7F8DE1A17}"/>
          </ac:spMkLst>
        </pc:spChg>
        <pc:spChg chg="mod">
          <ac:chgData name="Gasteiger, Cassidy M" userId="49e4247d-81de-4625-ae16-f189e0b7e529" providerId="ADAL" clId="{EFB976C6-EC52-4602-90C8-86B8954E5255}" dt="2023-03-31T02:46:47.642" v="41000" actId="20577"/>
          <ac:spMkLst>
            <pc:docMk/>
            <pc:sldMk cId="1435347701" sldId="323"/>
            <ac:spMk id="5" creationId="{D4BD8ED3-B917-99A7-B4B8-62A5F36B9568}"/>
          </ac:spMkLst>
        </pc:spChg>
        <pc:spChg chg="add del mod">
          <ac:chgData name="Gasteiger, Cassidy M" userId="49e4247d-81de-4625-ae16-f189e0b7e529" providerId="ADAL" clId="{EFB976C6-EC52-4602-90C8-86B8954E5255}" dt="2023-03-30T15:25:25.094" v="23104" actId="478"/>
          <ac:spMkLst>
            <pc:docMk/>
            <pc:sldMk cId="1435347701" sldId="323"/>
            <ac:spMk id="8" creationId="{33A67A6B-41C5-9239-41D9-86D96861D5AE}"/>
          </ac:spMkLst>
        </pc:spChg>
        <pc:spChg chg="add del mod">
          <ac:chgData name="Gasteiger, Cassidy M" userId="49e4247d-81de-4625-ae16-f189e0b7e529" providerId="ADAL" clId="{EFB976C6-EC52-4602-90C8-86B8954E5255}" dt="2023-03-26T04:12:09.907" v="1620" actId="478"/>
          <ac:spMkLst>
            <pc:docMk/>
            <pc:sldMk cId="1435347701" sldId="323"/>
            <ac:spMk id="10" creationId="{3623F201-9BE2-CCE1-B823-69718899F10A}"/>
          </ac:spMkLst>
        </pc:spChg>
        <pc:spChg chg="add del mod">
          <ac:chgData name="Gasteiger, Cassidy M" userId="49e4247d-81de-4625-ae16-f189e0b7e529" providerId="ADAL" clId="{EFB976C6-EC52-4602-90C8-86B8954E5255}" dt="2023-03-30T06:03:24.216" v="20155" actId="478"/>
          <ac:spMkLst>
            <pc:docMk/>
            <pc:sldMk cId="1435347701" sldId="323"/>
            <ac:spMk id="11" creationId="{0623F3AE-4617-4302-779A-21A736BF62DF}"/>
          </ac:spMkLst>
        </pc:spChg>
        <pc:spChg chg="add del mod">
          <ac:chgData name="Gasteiger, Cassidy M" userId="49e4247d-81de-4625-ae16-f189e0b7e529" providerId="ADAL" clId="{EFB976C6-EC52-4602-90C8-86B8954E5255}" dt="2023-03-30T15:25:25.094" v="23104" actId="478"/>
          <ac:spMkLst>
            <pc:docMk/>
            <pc:sldMk cId="1435347701" sldId="323"/>
            <ac:spMk id="12" creationId="{A306F01B-2DF6-5763-A3B5-EA3BCC3DF67E}"/>
          </ac:spMkLst>
        </pc:spChg>
        <pc:spChg chg="add del mod">
          <ac:chgData name="Gasteiger, Cassidy M" userId="49e4247d-81de-4625-ae16-f189e0b7e529" providerId="ADAL" clId="{EFB976C6-EC52-4602-90C8-86B8954E5255}" dt="2023-03-30T15:25:25.094" v="23104" actId="478"/>
          <ac:spMkLst>
            <pc:docMk/>
            <pc:sldMk cId="1435347701" sldId="323"/>
            <ac:spMk id="14" creationId="{2F5890EF-A347-438B-EA64-7D67D821293F}"/>
          </ac:spMkLst>
        </pc:spChg>
        <pc:spChg chg="mod">
          <ac:chgData name="Gasteiger, Cassidy M" userId="49e4247d-81de-4625-ae16-f189e0b7e529" providerId="ADAL" clId="{EFB976C6-EC52-4602-90C8-86B8954E5255}" dt="2023-03-30T15:25:25.613" v="23105"/>
          <ac:spMkLst>
            <pc:docMk/>
            <pc:sldMk cId="1435347701" sldId="323"/>
            <ac:spMk id="17" creationId="{4DBCBD93-1967-ABCA-78F0-F0AFDFA7390B}"/>
          </ac:spMkLst>
        </pc:spChg>
        <pc:spChg chg="mod">
          <ac:chgData name="Gasteiger, Cassidy M" userId="49e4247d-81de-4625-ae16-f189e0b7e529" providerId="ADAL" clId="{EFB976C6-EC52-4602-90C8-86B8954E5255}" dt="2023-03-30T15:25:25.613" v="23105"/>
          <ac:spMkLst>
            <pc:docMk/>
            <pc:sldMk cId="1435347701" sldId="323"/>
            <ac:spMk id="18" creationId="{10A1312B-483E-3411-9EC9-4D73A326DE7B}"/>
          </ac:spMkLst>
        </pc:spChg>
        <pc:spChg chg="mod">
          <ac:chgData name="Gasteiger, Cassidy M" userId="49e4247d-81de-4625-ae16-f189e0b7e529" providerId="ADAL" clId="{EFB976C6-EC52-4602-90C8-86B8954E5255}" dt="2023-03-30T15:26:31.563" v="23174" actId="1036"/>
          <ac:spMkLst>
            <pc:docMk/>
            <pc:sldMk cId="1435347701" sldId="323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30T15:25:25.613" v="23105"/>
          <ac:grpSpMkLst>
            <pc:docMk/>
            <pc:sldMk cId="1435347701" sldId="323"/>
            <ac:grpSpMk id="16" creationId="{A2D183EB-0479-632A-F381-DCDB849567E5}"/>
          </ac:grpSpMkLst>
        </pc:grpChg>
        <pc:picChg chg="add del mod">
          <ac:chgData name="Gasteiger, Cassidy M" userId="49e4247d-81de-4625-ae16-f189e0b7e529" providerId="ADAL" clId="{EFB976C6-EC52-4602-90C8-86B8954E5255}" dt="2023-03-30T06:03:39.275" v="20162" actId="21"/>
          <ac:picMkLst>
            <pc:docMk/>
            <pc:sldMk cId="1435347701" sldId="323"/>
            <ac:picMk id="3" creationId="{D1FC93BC-20CF-58CA-E2B8-2E1271F11DF5}"/>
          </ac:picMkLst>
        </pc:picChg>
        <pc:picChg chg="del">
          <ac:chgData name="Gasteiger, Cassidy M" userId="49e4247d-81de-4625-ae16-f189e0b7e529" providerId="ADAL" clId="{EFB976C6-EC52-4602-90C8-86B8954E5255}" dt="2023-03-30T06:03:25.711" v="20156" actId="478"/>
          <ac:picMkLst>
            <pc:docMk/>
            <pc:sldMk cId="1435347701" sldId="323"/>
            <ac:picMk id="4" creationId="{EE8BA817-C38B-C0E2-770C-9807A3EBB217}"/>
          </ac:picMkLst>
        </pc:picChg>
        <pc:picChg chg="del">
          <ac:chgData name="Gasteiger, Cassidy M" userId="49e4247d-81de-4625-ae16-f189e0b7e529" providerId="ADAL" clId="{EFB976C6-EC52-4602-90C8-86B8954E5255}" dt="2023-03-20T18:13:00.718" v="8" actId="478"/>
          <ac:picMkLst>
            <pc:docMk/>
            <pc:sldMk cId="1435347701" sldId="323"/>
            <ac:picMk id="7" creationId="{CED72983-2978-E049-2174-5B5BE71F7CEE}"/>
          </ac:picMkLst>
        </pc:picChg>
        <pc:picChg chg="add del mod">
          <ac:chgData name="Gasteiger, Cassidy M" userId="49e4247d-81de-4625-ae16-f189e0b7e529" providerId="ADAL" clId="{EFB976C6-EC52-4602-90C8-86B8954E5255}" dt="2023-03-30T06:03:54.063" v="20170" actId="478"/>
          <ac:picMkLst>
            <pc:docMk/>
            <pc:sldMk cId="1435347701" sldId="323"/>
            <ac:picMk id="9" creationId="{2CE980E5-17D5-E533-A2FA-1422E0A63BDB}"/>
          </ac:picMkLst>
        </pc:picChg>
        <pc:picChg chg="add del mod">
          <ac:chgData name="Gasteiger, Cassidy M" userId="49e4247d-81de-4625-ae16-f189e0b7e529" providerId="ADAL" clId="{EFB976C6-EC52-4602-90C8-86B8954E5255}" dt="2023-03-26T04:12:07.460" v="1618" actId="478"/>
          <ac:picMkLst>
            <pc:docMk/>
            <pc:sldMk cId="1435347701" sldId="323"/>
            <ac:picMk id="9" creationId="{AF863692-0E5C-EA8A-2490-8FFB0D831A31}"/>
          </ac:picMkLst>
        </pc:picChg>
        <pc:picChg chg="add del mod">
          <ac:chgData name="Gasteiger, Cassidy M" userId="49e4247d-81de-4625-ae16-f189e0b7e529" providerId="ADAL" clId="{EFB976C6-EC52-4602-90C8-86B8954E5255}" dt="2023-03-30T15:25:25.094" v="23104" actId="478"/>
          <ac:picMkLst>
            <pc:docMk/>
            <pc:sldMk cId="1435347701" sldId="323"/>
            <ac:picMk id="13" creationId="{8CEEE6EE-A465-FDAD-D672-74DCC318B172}"/>
          </ac:picMkLst>
        </pc:picChg>
        <pc:picChg chg="add mod">
          <ac:chgData name="Gasteiger, Cassidy M" userId="49e4247d-81de-4625-ae16-f189e0b7e529" providerId="ADAL" clId="{EFB976C6-EC52-4602-90C8-86B8954E5255}" dt="2023-03-30T15:26:31.563" v="23174" actId="1036"/>
          <ac:picMkLst>
            <pc:docMk/>
            <pc:sldMk cId="1435347701" sldId="323"/>
            <ac:picMk id="15" creationId="{F4285C87-DB17-D95B-1DE7-04EE20A29A4B}"/>
          </ac:picMkLst>
        </pc:picChg>
        <pc:cxnChg chg="mod">
          <ac:chgData name="Gasteiger, Cassidy M" userId="49e4247d-81de-4625-ae16-f189e0b7e529" providerId="ADAL" clId="{EFB976C6-EC52-4602-90C8-86B8954E5255}" dt="2023-03-30T15:26:31.563" v="23174" actId="1036"/>
          <ac:cxnSpMkLst>
            <pc:docMk/>
            <pc:sldMk cId="1435347701" sldId="323"/>
            <ac:cxnSpMk id="6" creationId="{4CAD932D-EF85-4A9A-C69E-DE2283FFD338}"/>
          </ac:cxnSpMkLst>
        </pc:cxnChg>
      </pc:sldChg>
      <pc:sldChg chg="addSp delSp modSp mod delAnim">
        <pc:chgData name="Gasteiger, Cassidy M" userId="49e4247d-81de-4625-ae16-f189e0b7e529" providerId="ADAL" clId="{EFB976C6-EC52-4602-90C8-86B8954E5255}" dt="2023-03-31T02:46:51.278" v="41003" actId="20577"/>
        <pc:sldMkLst>
          <pc:docMk/>
          <pc:sldMk cId="208133519" sldId="324"/>
        </pc:sldMkLst>
        <pc:spChg chg="del">
          <ac:chgData name="Gasteiger, Cassidy M" userId="49e4247d-81de-4625-ae16-f189e0b7e529" providerId="ADAL" clId="{EFB976C6-EC52-4602-90C8-86B8954E5255}" dt="2023-03-27T19:03:24.060" v="3918" actId="478"/>
          <ac:spMkLst>
            <pc:docMk/>
            <pc:sldMk cId="208133519" sldId="324"/>
            <ac:spMk id="3" creationId="{83002D7B-F14B-9101-3B8B-11F03B0C955B}"/>
          </ac:spMkLst>
        </pc:spChg>
        <pc:spChg chg="add del mod">
          <ac:chgData name="Gasteiger, Cassidy M" userId="49e4247d-81de-4625-ae16-f189e0b7e529" providerId="ADAL" clId="{EFB976C6-EC52-4602-90C8-86B8954E5255}" dt="2023-03-30T06:03:41.701" v="20163" actId="478"/>
          <ac:spMkLst>
            <pc:docMk/>
            <pc:sldMk cId="208133519" sldId="324"/>
            <ac:spMk id="4" creationId="{50BB3393-EA79-70AA-2D3F-93F02C7261D8}"/>
          </ac:spMkLst>
        </pc:spChg>
        <pc:spChg chg="add del mod">
          <ac:chgData name="Gasteiger, Cassidy M" userId="49e4247d-81de-4625-ae16-f189e0b7e529" providerId="ADAL" clId="{EFB976C6-EC52-4602-90C8-86B8954E5255}" dt="2023-03-30T15:25:29.645" v="23106" actId="478"/>
          <ac:spMkLst>
            <pc:docMk/>
            <pc:sldMk cId="208133519" sldId="324"/>
            <ac:spMk id="5" creationId="{A113AA43-EF1F-B883-FFBD-313EA2B0DDD7}"/>
          </ac:spMkLst>
        </pc:spChg>
        <pc:spChg chg="mod">
          <ac:chgData name="Gasteiger, Cassidy M" userId="49e4247d-81de-4625-ae16-f189e0b7e529" providerId="ADAL" clId="{EFB976C6-EC52-4602-90C8-86B8954E5255}" dt="2023-03-31T02:46:51.278" v="41003" actId="20577"/>
          <ac:spMkLst>
            <pc:docMk/>
            <pc:sldMk cId="208133519" sldId="324"/>
            <ac:spMk id="8" creationId="{94B10EA8-7CEF-C026-AE6D-0C98CA26526E}"/>
          </ac:spMkLst>
        </pc:spChg>
        <pc:spChg chg="add del mod">
          <ac:chgData name="Gasteiger, Cassidy M" userId="49e4247d-81de-4625-ae16-f189e0b7e529" providerId="ADAL" clId="{EFB976C6-EC52-4602-90C8-86B8954E5255}" dt="2023-03-30T15:25:29.645" v="23106" actId="478"/>
          <ac:spMkLst>
            <pc:docMk/>
            <pc:sldMk cId="208133519" sldId="324"/>
            <ac:spMk id="9" creationId="{2AF24EB1-0EC6-0E66-44BE-C9E63A34D2E2}"/>
          </ac:spMkLst>
        </pc:spChg>
        <pc:spChg chg="mod">
          <ac:chgData name="Gasteiger, Cassidy M" userId="49e4247d-81de-4625-ae16-f189e0b7e529" providerId="ADAL" clId="{EFB976C6-EC52-4602-90C8-86B8954E5255}" dt="2023-03-30T15:25:29.877" v="23107"/>
          <ac:spMkLst>
            <pc:docMk/>
            <pc:sldMk cId="208133519" sldId="324"/>
            <ac:spMk id="11" creationId="{31ABE50F-8918-E0D1-DBC0-9355B415491E}"/>
          </ac:spMkLst>
        </pc:spChg>
        <pc:spChg chg="mod">
          <ac:chgData name="Gasteiger, Cassidy M" userId="49e4247d-81de-4625-ae16-f189e0b7e529" providerId="ADAL" clId="{EFB976C6-EC52-4602-90C8-86B8954E5255}" dt="2023-03-30T15:25:29.877" v="23107"/>
          <ac:spMkLst>
            <pc:docMk/>
            <pc:sldMk cId="208133519" sldId="324"/>
            <ac:spMk id="12" creationId="{563D90E5-462B-85C6-00EF-07F917A52631}"/>
          </ac:spMkLst>
        </pc:spChg>
        <pc:spChg chg="mod">
          <ac:chgData name="Gasteiger, Cassidy M" userId="49e4247d-81de-4625-ae16-f189e0b7e529" providerId="ADAL" clId="{EFB976C6-EC52-4602-90C8-86B8954E5255}" dt="2023-03-30T15:26:24.125" v="23166" actId="1036"/>
          <ac:spMkLst>
            <pc:docMk/>
            <pc:sldMk cId="208133519" sldId="324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30T15:25:29.877" v="23107"/>
          <ac:grpSpMkLst>
            <pc:docMk/>
            <pc:sldMk cId="208133519" sldId="324"/>
            <ac:grpSpMk id="3" creationId="{E9D4F6ED-79A2-820C-9F3C-1E405469FDEA}"/>
          </ac:grpSpMkLst>
        </pc:grpChg>
        <pc:picChg chg="add mod">
          <ac:chgData name="Gasteiger, Cassidy M" userId="49e4247d-81de-4625-ae16-f189e0b7e529" providerId="ADAL" clId="{EFB976C6-EC52-4602-90C8-86B8954E5255}" dt="2023-03-30T15:26:24.125" v="23166" actId="1036"/>
          <ac:picMkLst>
            <pc:docMk/>
            <pc:sldMk cId="208133519" sldId="324"/>
            <ac:picMk id="2" creationId="{12DA31AB-EC08-D80B-EED4-9D07D7DE4289}"/>
          </ac:picMkLst>
        </pc:picChg>
        <pc:picChg chg="del">
          <ac:chgData name="Gasteiger, Cassidy M" userId="49e4247d-81de-4625-ae16-f189e0b7e529" providerId="ADAL" clId="{EFB976C6-EC52-4602-90C8-86B8954E5255}" dt="2023-03-20T18:13:03.165" v="9" actId="478"/>
          <ac:picMkLst>
            <pc:docMk/>
            <pc:sldMk cId="208133519" sldId="324"/>
            <ac:picMk id="2" creationId="{AB44E723-6BC4-7185-9E3E-9E3C068DF635}"/>
          </ac:picMkLst>
        </pc:picChg>
        <pc:picChg chg="add del mod">
          <ac:chgData name="Gasteiger, Cassidy M" userId="49e4247d-81de-4625-ae16-f189e0b7e529" providerId="ADAL" clId="{EFB976C6-EC52-4602-90C8-86B8954E5255}" dt="2023-03-30T15:25:29.645" v="23106" actId="478"/>
          <ac:picMkLst>
            <pc:docMk/>
            <pc:sldMk cId="208133519" sldId="324"/>
            <ac:picMk id="6" creationId="{D8908B51-AEEB-FBE4-22E6-FDC384065F01}"/>
          </ac:picMkLst>
        </pc:picChg>
        <pc:picChg chg="del">
          <ac:chgData name="Gasteiger, Cassidy M" userId="49e4247d-81de-4625-ae16-f189e0b7e529" providerId="ADAL" clId="{EFB976C6-EC52-4602-90C8-86B8954E5255}" dt="2023-03-30T06:03:42.885" v="20164" actId="478"/>
          <ac:picMkLst>
            <pc:docMk/>
            <pc:sldMk cId="208133519" sldId="324"/>
            <ac:picMk id="7" creationId="{7FEFEC5A-0C85-62F1-ABDD-F0BCBC75C657}"/>
          </ac:picMkLst>
        </pc:picChg>
        <pc:cxnChg chg="mod">
          <ac:chgData name="Gasteiger, Cassidy M" userId="49e4247d-81de-4625-ae16-f189e0b7e529" providerId="ADAL" clId="{EFB976C6-EC52-4602-90C8-86B8954E5255}" dt="2023-03-30T15:26:24.125" v="23166" actId="1036"/>
          <ac:cxnSpMkLst>
            <pc:docMk/>
            <pc:sldMk cId="208133519" sldId="324"/>
            <ac:cxnSpMk id="10" creationId="{42AE90B6-DF18-C891-CCA3-972472E726A2}"/>
          </ac:cxnSpMkLst>
        </pc:cxnChg>
      </pc:sldChg>
      <pc:sldChg chg="delSp del mod delAnim">
        <pc:chgData name="Gasteiger, Cassidy M" userId="49e4247d-81de-4625-ae16-f189e0b7e529" providerId="ADAL" clId="{EFB976C6-EC52-4602-90C8-86B8954E5255}" dt="2023-03-26T04:16:20.188" v="1708" actId="2696"/>
        <pc:sldMkLst>
          <pc:docMk/>
          <pc:sldMk cId="3118819396" sldId="326"/>
        </pc:sldMkLst>
        <pc:picChg chg="del">
          <ac:chgData name="Gasteiger, Cassidy M" userId="49e4247d-81de-4625-ae16-f189e0b7e529" providerId="ADAL" clId="{EFB976C6-EC52-4602-90C8-86B8954E5255}" dt="2023-03-20T18:13:24.660" v="16" actId="478"/>
          <ac:picMkLst>
            <pc:docMk/>
            <pc:sldMk cId="3118819396" sldId="326"/>
            <ac:picMk id="2" creationId="{C3F58B87-A2B5-78E8-317D-7BDDCEDB5B52}"/>
          </ac:picMkLst>
        </pc:picChg>
      </pc:sldChg>
      <pc:sldChg chg="delSp modSp del mod delAnim">
        <pc:chgData name="Gasteiger, Cassidy M" userId="49e4247d-81de-4625-ae16-f189e0b7e529" providerId="ADAL" clId="{EFB976C6-EC52-4602-90C8-86B8954E5255}" dt="2023-03-26T04:16:28.403" v="1709" actId="2696"/>
        <pc:sldMkLst>
          <pc:docMk/>
          <pc:sldMk cId="1942519672" sldId="327"/>
        </pc:sldMkLst>
        <pc:spChg chg="mod">
          <ac:chgData name="Gasteiger, Cassidy M" userId="49e4247d-81de-4625-ae16-f189e0b7e529" providerId="ADAL" clId="{EFB976C6-EC52-4602-90C8-86B8954E5255}" dt="2023-03-20T18:24:41.783" v="27" actId="1036"/>
          <ac:spMkLst>
            <pc:docMk/>
            <pc:sldMk cId="1942519672" sldId="327"/>
            <ac:spMk id="235" creationId="{00000000-0000-0000-0000-000000000000}"/>
          </ac:spMkLst>
        </pc:spChg>
        <pc:picChg chg="del">
          <ac:chgData name="Gasteiger, Cassidy M" userId="49e4247d-81de-4625-ae16-f189e0b7e529" providerId="ADAL" clId="{EFB976C6-EC52-4602-90C8-86B8954E5255}" dt="2023-03-20T18:13:28.326" v="17" actId="478"/>
          <ac:picMkLst>
            <pc:docMk/>
            <pc:sldMk cId="1942519672" sldId="327"/>
            <ac:picMk id="8" creationId="{3CB07FC2-71CD-5ACF-C22F-F7B725F34490}"/>
          </ac:picMkLst>
        </pc:picChg>
      </pc:sldChg>
      <pc:sldChg chg="delSp del mod delAnim">
        <pc:chgData name="Gasteiger, Cassidy M" userId="49e4247d-81de-4625-ae16-f189e0b7e529" providerId="ADAL" clId="{EFB976C6-EC52-4602-90C8-86B8954E5255}" dt="2023-03-26T04:16:28.403" v="1709" actId="2696"/>
        <pc:sldMkLst>
          <pc:docMk/>
          <pc:sldMk cId="1089557715" sldId="330"/>
        </pc:sldMkLst>
        <pc:picChg chg="del">
          <ac:chgData name="Gasteiger, Cassidy M" userId="49e4247d-81de-4625-ae16-f189e0b7e529" providerId="ADAL" clId="{EFB976C6-EC52-4602-90C8-86B8954E5255}" dt="2023-03-20T18:13:32.075" v="18" actId="478"/>
          <ac:picMkLst>
            <pc:docMk/>
            <pc:sldMk cId="1089557715" sldId="330"/>
            <ac:picMk id="8" creationId="{5E1A6573-CCCC-0228-D919-8D15E0C56A15}"/>
          </ac:picMkLst>
        </pc:picChg>
      </pc:sldChg>
      <pc:sldChg chg="delSp del mod delAnim">
        <pc:chgData name="Gasteiger, Cassidy M" userId="49e4247d-81de-4625-ae16-f189e0b7e529" providerId="ADAL" clId="{EFB976C6-EC52-4602-90C8-86B8954E5255}" dt="2023-03-26T04:16:28.403" v="1709" actId="2696"/>
        <pc:sldMkLst>
          <pc:docMk/>
          <pc:sldMk cId="3423158352" sldId="331"/>
        </pc:sldMkLst>
        <pc:picChg chg="del">
          <ac:chgData name="Gasteiger, Cassidy M" userId="49e4247d-81de-4625-ae16-f189e0b7e529" providerId="ADAL" clId="{EFB976C6-EC52-4602-90C8-86B8954E5255}" dt="2023-03-20T18:13:36.489" v="19" actId="478"/>
          <ac:picMkLst>
            <pc:docMk/>
            <pc:sldMk cId="3423158352" sldId="331"/>
            <ac:picMk id="8" creationId="{8B7F69F0-29B9-A1E0-88F7-9B87889595DA}"/>
          </ac:picMkLst>
        </pc:picChg>
      </pc:sldChg>
      <pc:sldChg chg="delSp del mod delAnim">
        <pc:chgData name="Gasteiger, Cassidy M" userId="49e4247d-81de-4625-ae16-f189e0b7e529" providerId="ADAL" clId="{EFB976C6-EC52-4602-90C8-86B8954E5255}" dt="2023-03-26T04:16:28.403" v="1709" actId="2696"/>
        <pc:sldMkLst>
          <pc:docMk/>
          <pc:sldMk cId="293618034" sldId="332"/>
        </pc:sldMkLst>
        <pc:picChg chg="del">
          <ac:chgData name="Gasteiger, Cassidy M" userId="49e4247d-81de-4625-ae16-f189e0b7e529" providerId="ADAL" clId="{EFB976C6-EC52-4602-90C8-86B8954E5255}" dt="2023-03-20T18:13:39.094" v="20" actId="478"/>
          <ac:picMkLst>
            <pc:docMk/>
            <pc:sldMk cId="293618034" sldId="332"/>
            <ac:picMk id="3" creationId="{ABB71CE3-D1E7-45E8-E4F0-FDE16C1365EE}"/>
          </ac:picMkLst>
        </pc:picChg>
      </pc:sldChg>
      <pc:sldChg chg="delSp del mod delAnim">
        <pc:chgData name="Gasteiger, Cassidy M" userId="49e4247d-81de-4625-ae16-f189e0b7e529" providerId="ADAL" clId="{EFB976C6-EC52-4602-90C8-86B8954E5255}" dt="2023-03-30T16:06:18.335" v="24324" actId="2696"/>
        <pc:sldMkLst>
          <pc:docMk/>
          <pc:sldMk cId="1569258993" sldId="333"/>
        </pc:sldMkLst>
        <pc:picChg chg="del">
          <ac:chgData name="Gasteiger, Cassidy M" userId="49e4247d-81de-4625-ae16-f189e0b7e529" providerId="ADAL" clId="{EFB976C6-EC52-4602-90C8-86B8954E5255}" dt="2023-03-20T18:13:46.337" v="22" actId="478"/>
          <ac:picMkLst>
            <pc:docMk/>
            <pc:sldMk cId="1569258993" sldId="333"/>
            <ac:picMk id="2" creationId="{DD5660DF-8431-6938-9E9A-23E4BE16BB4C}"/>
          </ac:picMkLst>
        </pc:picChg>
      </pc:sldChg>
      <pc:sldChg chg="addSp delSp modSp mod delAnim">
        <pc:chgData name="Gasteiger, Cassidy M" userId="49e4247d-81de-4625-ae16-f189e0b7e529" providerId="ADAL" clId="{EFB976C6-EC52-4602-90C8-86B8954E5255}" dt="2023-03-31T03:33:50.396" v="41569" actId="478"/>
        <pc:sldMkLst>
          <pc:docMk/>
          <pc:sldMk cId="53711484" sldId="334"/>
        </pc:sldMkLst>
        <pc:spChg chg="mod">
          <ac:chgData name="Gasteiger, Cassidy M" userId="49e4247d-81de-4625-ae16-f189e0b7e529" providerId="ADAL" clId="{EFB976C6-EC52-4602-90C8-86B8954E5255}" dt="2023-03-30T22:26:50.782" v="32933"/>
          <ac:spMkLst>
            <pc:docMk/>
            <pc:sldMk cId="53711484" sldId="334"/>
            <ac:spMk id="6" creationId="{0C3B22AE-1A63-3244-4ED2-21EB7551A2F3}"/>
          </ac:spMkLst>
        </pc:spChg>
        <pc:spChg chg="mod">
          <ac:chgData name="Gasteiger, Cassidy M" userId="49e4247d-81de-4625-ae16-f189e0b7e529" providerId="ADAL" clId="{EFB976C6-EC52-4602-90C8-86B8954E5255}" dt="2023-03-30T22:26:50.782" v="32933"/>
          <ac:spMkLst>
            <pc:docMk/>
            <pc:sldMk cId="53711484" sldId="334"/>
            <ac:spMk id="7" creationId="{B904C00F-0368-B2A5-E15E-6134E2ED623A}"/>
          </ac:spMkLst>
        </pc:spChg>
        <pc:spChg chg="mod">
          <ac:chgData name="Gasteiger, Cassidy M" userId="49e4247d-81de-4625-ae16-f189e0b7e529" providerId="ADAL" clId="{EFB976C6-EC52-4602-90C8-86B8954E5255}" dt="2023-03-31T02:45:28.896" v="40993" actId="948"/>
          <ac:spMkLst>
            <pc:docMk/>
            <pc:sldMk cId="53711484" sldId="334"/>
            <ac:spMk id="9" creationId="{E7F1173B-E810-3219-3376-AC008201AC3C}"/>
          </ac:spMkLst>
        </pc:spChg>
        <pc:spChg chg="mod">
          <ac:chgData name="Gasteiger, Cassidy M" userId="49e4247d-81de-4625-ae16-f189e0b7e529" providerId="ADAL" clId="{EFB976C6-EC52-4602-90C8-86B8954E5255}" dt="2023-03-31T02:45:16.978" v="40992" actId="1076"/>
          <ac:spMkLst>
            <pc:docMk/>
            <pc:sldMk cId="53711484" sldId="334"/>
            <ac:spMk id="12" creationId="{5C0C1647-DAA6-0C86-40B3-6B10DD64DACB}"/>
          </ac:spMkLst>
        </pc:spChg>
        <pc:spChg chg="mod">
          <ac:chgData name="Gasteiger, Cassidy M" userId="49e4247d-81de-4625-ae16-f189e0b7e529" providerId="ADAL" clId="{EFB976C6-EC52-4602-90C8-86B8954E5255}" dt="2023-03-31T02:44:59.321" v="40989" actId="1076"/>
          <ac:spMkLst>
            <pc:docMk/>
            <pc:sldMk cId="53711484" sldId="334"/>
            <ac:spMk id="13" creationId="{C48BC8E0-31CE-349D-FAA5-F975C6E83A7B}"/>
          </ac:spMkLst>
        </pc:spChg>
        <pc:spChg chg="del mod">
          <ac:chgData name="Gasteiger, Cassidy M" userId="49e4247d-81de-4625-ae16-f189e0b7e529" providerId="ADAL" clId="{EFB976C6-EC52-4602-90C8-86B8954E5255}" dt="2023-03-31T02:42:14.906" v="40720" actId="478"/>
          <ac:spMkLst>
            <pc:docMk/>
            <pc:sldMk cId="53711484" sldId="334"/>
            <ac:spMk id="14" creationId="{E8830172-2913-3FA8-5A03-CCA1EE97FBB3}"/>
          </ac:spMkLst>
        </pc:spChg>
        <pc:spChg chg="del">
          <ac:chgData name="Gasteiger, Cassidy M" userId="49e4247d-81de-4625-ae16-f189e0b7e529" providerId="ADAL" clId="{EFB976C6-EC52-4602-90C8-86B8954E5255}" dt="2023-03-31T02:42:13.939" v="40719" actId="478"/>
          <ac:spMkLst>
            <pc:docMk/>
            <pc:sldMk cId="53711484" sldId="334"/>
            <ac:spMk id="15" creationId="{837911A6-F80F-51A2-C610-AF6CE912EA7B}"/>
          </ac:spMkLst>
        </pc:spChg>
        <pc:spChg chg="del mod">
          <ac:chgData name="Gasteiger, Cassidy M" userId="49e4247d-81de-4625-ae16-f189e0b7e529" providerId="ADAL" clId="{EFB976C6-EC52-4602-90C8-86B8954E5255}" dt="2023-03-31T02:42:16.036" v="40721" actId="478"/>
          <ac:spMkLst>
            <pc:docMk/>
            <pc:sldMk cId="53711484" sldId="334"/>
            <ac:spMk id="16" creationId="{2D19D639-16F0-14A0-718F-277137AAD132}"/>
          </ac:spMkLst>
        </pc:spChg>
        <pc:spChg chg="mod">
          <ac:chgData name="Gasteiger, Cassidy M" userId="49e4247d-81de-4625-ae16-f189e0b7e529" providerId="ADAL" clId="{EFB976C6-EC52-4602-90C8-86B8954E5255}" dt="2023-03-30T22:26:57.976" v="32934" actId="207"/>
          <ac:spMkLst>
            <pc:docMk/>
            <pc:sldMk cId="53711484" sldId="334"/>
            <ac:spMk id="235" creationId="{00000000-0000-0000-0000-000000000000}"/>
          </ac:spMkLst>
        </pc:spChg>
        <pc:grpChg chg="add del mod">
          <ac:chgData name="Gasteiger, Cassidy M" userId="49e4247d-81de-4625-ae16-f189e0b7e529" providerId="ADAL" clId="{EFB976C6-EC52-4602-90C8-86B8954E5255}" dt="2023-03-31T03:33:50.396" v="41569" actId="478"/>
          <ac:grpSpMkLst>
            <pc:docMk/>
            <pc:sldMk cId="53711484" sldId="334"/>
            <ac:grpSpMk id="2" creationId="{04415AC1-47DD-F908-5188-3161095811E4}"/>
          </ac:grpSpMkLst>
        </pc:grpChg>
        <pc:grpChg chg="del">
          <ac:chgData name="Gasteiger, Cassidy M" userId="49e4247d-81de-4625-ae16-f189e0b7e529" providerId="ADAL" clId="{EFB976C6-EC52-4602-90C8-86B8954E5255}" dt="2023-03-31T02:42:19.149" v="40723" actId="478"/>
          <ac:grpSpMkLst>
            <pc:docMk/>
            <pc:sldMk cId="53711484" sldId="334"/>
            <ac:grpSpMk id="3" creationId="{24EB8E06-9221-ED4B-BC01-B73B2F386EC1}"/>
          </ac:grpSpMkLst>
        </pc:grpChg>
        <pc:grpChg chg="add mod">
          <ac:chgData name="Gasteiger, Cassidy M" userId="49e4247d-81de-4625-ae16-f189e0b7e529" providerId="ADAL" clId="{EFB976C6-EC52-4602-90C8-86B8954E5255}" dt="2023-03-31T02:45:10.346" v="40991" actId="1076"/>
          <ac:grpSpMkLst>
            <pc:docMk/>
            <pc:sldMk cId="53711484" sldId="334"/>
            <ac:grpSpMk id="8" creationId="{B4537E72-091D-92AB-2FDA-A2621869CF87}"/>
          </ac:grpSpMkLst>
        </pc:grpChg>
        <pc:grpChg chg="del">
          <ac:chgData name="Gasteiger, Cassidy M" userId="49e4247d-81de-4625-ae16-f189e0b7e529" providerId="ADAL" clId="{EFB976C6-EC52-4602-90C8-86B8954E5255}" dt="2023-03-31T02:42:18.056" v="40722" actId="478"/>
          <ac:grpSpMkLst>
            <pc:docMk/>
            <pc:sldMk cId="53711484" sldId="334"/>
            <ac:grpSpMk id="18" creationId="{7C9FB78B-0990-B640-A2DC-842BF59F1468}"/>
          </ac:grpSpMkLst>
        </pc:grpChg>
        <pc:grpChg chg="mod">
          <ac:chgData name="Gasteiger, Cassidy M" userId="49e4247d-81de-4625-ae16-f189e0b7e529" providerId="ADAL" clId="{EFB976C6-EC52-4602-90C8-86B8954E5255}" dt="2023-03-31T02:45:07.971" v="40990" actId="164"/>
          <ac:grpSpMkLst>
            <pc:docMk/>
            <pc:sldMk cId="53711484" sldId="334"/>
            <ac:grpSpMk id="22" creationId="{01E2B0FC-5256-0EBE-2B04-B2B36C3985A3}"/>
          </ac:grpSpMkLst>
        </pc:grpChg>
        <pc:picChg chg="mod">
          <ac:chgData name="Gasteiger, Cassidy M" userId="49e4247d-81de-4625-ae16-f189e0b7e529" providerId="ADAL" clId="{EFB976C6-EC52-4602-90C8-86B8954E5255}" dt="2023-03-31T02:45:07.971" v="40990" actId="164"/>
          <ac:picMkLst>
            <pc:docMk/>
            <pc:sldMk cId="53711484" sldId="334"/>
            <ac:picMk id="29" creationId="{A9831B53-8351-CF67-4AC5-F1EBA120F012}"/>
          </ac:picMkLst>
        </pc:picChg>
        <pc:picChg chg="del">
          <ac:chgData name="Gasteiger, Cassidy M" userId="49e4247d-81de-4625-ae16-f189e0b7e529" providerId="ADAL" clId="{EFB976C6-EC52-4602-90C8-86B8954E5255}" dt="2023-03-20T18:13:48.679" v="23" actId="478"/>
          <ac:picMkLst>
            <pc:docMk/>
            <pc:sldMk cId="53711484" sldId="334"/>
            <ac:picMk id="30" creationId="{51E64435-392F-72A9-5679-CF04292BD320}"/>
          </ac:picMkLst>
        </pc:picChg>
      </pc:sldChg>
      <pc:sldChg chg="modSp del mod">
        <pc:chgData name="Gasteiger, Cassidy M" userId="49e4247d-81de-4625-ae16-f189e0b7e529" providerId="ADAL" clId="{EFB976C6-EC52-4602-90C8-86B8954E5255}" dt="2023-03-30T18:00:35.197" v="27305" actId="2696"/>
        <pc:sldMkLst>
          <pc:docMk/>
          <pc:sldMk cId="3884037906" sldId="336"/>
        </pc:sldMkLst>
        <pc:spChg chg="mod">
          <ac:chgData name="Gasteiger, Cassidy M" userId="49e4247d-81de-4625-ae16-f189e0b7e529" providerId="ADAL" clId="{EFB976C6-EC52-4602-90C8-86B8954E5255}" dt="2023-03-30T16:20:30.397" v="25904" actId="207"/>
          <ac:spMkLst>
            <pc:docMk/>
            <pc:sldMk cId="3884037906" sldId="336"/>
            <ac:spMk id="2" creationId="{D7C90BBA-0CCA-5FD9-7EE2-768C45F43841}"/>
          </ac:spMkLst>
        </pc:spChg>
      </pc:sldChg>
      <pc:sldChg chg="addSp delSp modSp mod ord delAnim">
        <pc:chgData name="Gasteiger, Cassidy M" userId="49e4247d-81de-4625-ae16-f189e0b7e529" providerId="ADAL" clId="{EFB976C6-EC52-4602-90C8-86B8954E5255}" dt="2023-03-30T21:35:42.458" v="31550" actId="1076"/>
        <pc:sldMkLst>
          <pc:docMk/>
          <pc:sldMk cId="638772994" sldId="337"/>
        </pc:sldMkLst>
        <pc:spChg chg="del">
          <ac:chgData name="Gasteiger, Cassidy M" userId="49e4247d-81de-4625-ae16-f189e0b7e529" providerId="ADAL" clId="{EFB976C6-EC52-4602-90C8-86B8954E5255}" dt="2023-03-27T20:48:15.718" v="4352" actId="478"/>
          <ac:spMkLst>
            <pc:docMk/>
            <pc:sldMk cId="638772994" sldId="337"/>
            <ac:spMk id="2" creationId="{C9A509AA-FC9F-D060-E2BF-227A6774AC36}"/>
          </ac:spMkLst>
        </pc:spChg>
        <pc:spChg chg="mod">
          <ac:chgData name="Gasteiger, Cassidy M" userId="49e4247d-81de-4625-ae16-f189e0b7e529" providerId="ADAL" clId="{EFB976C6-EC52-4602-90C8-86B8954E5255}" dt="2023-03-30T20:11:40.649" v="28762" actId="20577"/>
          <ac:spMkLst>
            <pc:docMk/>
            <pc:sldMk cId="638772994" sldId="337"/>
            <ac:spMk id="3" creationId="{9B0A9FA1-AC25-EF7B-0CFB-371138E77FA9}"/>
          </ac:spMkLst>
        </pc:spChg>
        <pc:spChg chg="add del mod">
          <ac:chgData name="Gasteiger, Cassidy M" userId="49e4247d-81de-4625-ae16-f189e0b7e529" providerId="ADAL" clId="{EFB976C6-EC52-4602-90C8-86B8954E5255}" dt="2023-03-27T20:48:16.644" v="4353" actId="478"/>
          <ac:spMkLst>
            <pc:docMk/>
            <pc:sldMk cId="638772994" sldId="337"/>
            <ac:spMk id="3" creationId="{AA52D0DA-3671-F1A7-A67C-AC33C8CECABD}"/>
          </ac:spMkLst>
        </pc:spChg>
        <pc:spChg chg="mod">
          <ac:chgData name="Gasteiger, Cassidy M" userId="49e4247d-81de-4625-ae16-f189e0b7e529" providerId="ADAL" clId="{EFB976C6-EC52-4602-90C8-86B8954E5255}" dt="2023-03-30T15:28:51.737" v="23192"/>
          <ac:spMkLst>
            <pc:docMk/>
            <pc:sldMk cId="638772994" sldId="337"/>
            <ac:spMk id="4" creationId="{0A5E7FBB-1BD1-BD82-EC2E-CE1E89D9C486}"/>
          </ac:spMkLst>
        </pc:spChg>
        <pc:spChg chg="del">
          <ac:chgData name="Gasteiger, Cassidy M" userId="49e4247d-81de-4625-ae16-f189e0b7e529" providerId="ADAL" clId="{EFB976C6-EC52-4602-90C8-86B8954E5255}" dt="2023-03-27T20:48:15.718" v="4352" actId="478"/>
          <ac:spMkLst>
            <pc:docMk/>
            <pc:sldMk cId="638772994" sldId="337"/>
            <ac:spMk id="4" creationId="{4E7AC903-3560-64FD-D0B9-D7A9AB6C46BD}"/>
          </ac:spMkLst>
        </pc:spChg>
        <pc:spChg chg="add mod">
          <ac:chgData name="Gasteiger, Cassidy M" userId="49e4247d-81de-4625-ae16-f189e0b7e529" providerId="ADAL" clId="{EFB976C6-EC52-4602-90C8-86B8954E5255}" dt="2023-03-30T21:35:20.029" v="31547" actId="1076"/>
          <ac:spMkLst>
            <pc:docMk/>
            <pc:sldMk cId="638772994" sldId="337"/>
            <ac:spMk id="6" creationId="{03EB7F17-9363-D1C3-36FE-89445E4CA329}"/>
          </ac:spMkLst>
        </pc:spChg>
        <pc:spChg chg="del">
          <ac:chgData name="Gasteiger, Cassidy M" userId="49e4247d-81de-4625-ae16-f189e0b7e529" providerId="ADAL" clId="{EFB976C6-EC52-4602-90C8-86B8954E5255}" dt="2023-03-27T20:48:15.718" v="4352" actId="478"/>
          <ac:spMkLst>
            <pc:docMk/>
            <pc:sldMk cId="638772994" sldId="337"/>
            <ac:spMk id="8" creationId="{86646998-59B3-E61B-42CA-257F4732F828}"/>
          </ac:spMkLst>
        </pc:spChg>
        <pc:spChg chg="add mod">
          <ac:chgData name="Gasteiger, Cassidy M" userId="49e4247d-81de-4625-ae16-f189e0b7e529" providerId="ADAL" clId="{EFB976C6-EC52-4602-90C8-86B8954E5255}" dt="2023-03-30T21:35:42.458" v="31550" actId="1076"/>
          <ac:spMkLst>
            <pc:docMk/>
            <pc:sldMk cId="638772994" sldId="337"/>
            <ac:spMk id="8" creationId="{F7486D87-518B-7CF5-9A9A-14AD3D158E00}"/>
          </ac:spMkLst>
        </pc:spChg>
        <pc:spChg chg="del">
          <ac:chgData name="Gasteiger, Cassidy M" userId="49e4247d-81de-4625-ae16-f189e0b7e529" providerId="ADAL" clId="{EFB976C6-EC52-4602-90C8-86B8954E5255}" dt="2023-03-27T20:48:23.311" v="4354" actId="478"/>
          <ac:spMkLst>
            <pc:docMk/>
            <pc:sldMk cId="638772994" sldId="337"/>
            <ac:spMk id="12" creationId="{7D6F16F8-96F7-D975-045E-D3849E28535A}"/>
          </ac:spMkLst>
        </pc:spChg>
        <pc:spChg chg="del">
          <ac:chgData name="Gasteiger, Cassidy M" userId="49e4247d-81de-4625-ae16-f189e0b7e529" providerId="ADAL" clId="{EFB976C6-EC52-4602-90C8-86B8954E5255}" dt="2023-03-27T20:48:23.311" v="4354" actId="478"/>
          <ac:spMkLst>
            <pc:docMk/>
            <pc:sldMk cId="638772994" sldId="337"/>
            <ac:spMk id="13" creationId="{2ED08A31-5E35-6B93-6812-7ED14985C922}"/>
          </ac:spMkLst>
        </pc:spChg>
        <pc:spChg chg="del">
          <ac:chgData name="Gasteiger, Cassidy M" userId="49e4247d-81de-4625-ae16-f189e0b7e529" providerId="ADAL" clId="{EFB976C6-EC52-4602-90C8-86B8954E5255}" dt="2023-03-27T20:48:23.311" v="4354" actId="478"/>
          <ac:spMkLst>
            <pc:docMk/>
            <pc:sldMk cId="638772994" sldId="337"/>
            <ac:spMk id="14" creationId="{B1CCE780-D13C-4BBF-1820-2848CAFAA454}"/>
          </ac:spMkLst>
        </pc:spChg>
        <pc:spChg chg="del">
          <ac:chgData name="Gasteiger, Cassidy M" userId="49e4247d-81de-4625-ae16-f189e0b7e529" providerId="ADAL" clId="{EFB976C6-EC52-4602-90C8-86B8954E5255}" dt="2023-03-27T20:48:23.311" v="4354" actId="478"/>
          <ac:spMkLst>
            <pc:docMk/>
            <pc:sldMk cId="638772994" sldId="337"/>
            <ac:spMk id="15" creationId="{60419B34-BDF8-A708-1E30-407CE1BF7F04}"/>
          </ac:spMkLst>
        </pc:spChg>
        <pc:spChg chg="del">
          <ac:chgData name="Gasteiger, Cassidy M" userId="49e4247d-81de-4625-ae16-f189e0b7e529" providerId="ADAL" clId="{EFB976C6-EC52-4602-90C8-86B8954E5255}" dt="2023-03-27T20:48:15.718" v="4352" actId="478"/>
          <ac:spMkLst>
            <pc:docMk/>
            <pc:sldMk cId="638772994" sldId="337"/>
            <ac:spMk id="18" creationId="{BAEC4B9A-9466-533A-A1E8-A87EB94E384B}"/>
          </ac:spMkLst>
        </pc:spChg>
        <pc:spChg chg="del">
          <ac:chgData name="Gasteiger, Cassidy M" userId="49e4247d-81de-4625-ae16-f189e0b7e529" providerId="ADAL" clId="{EFB976C6-EC52-4602-90C8-86B8954E5255}" dt="2023-03-27T20:48:15.718" v="4352" actId="478"/>
          <ac:spMkLst>
            <pc:docMk/>
            <pc:sldMk cId="638772994" sldId="337"/>
            <ac:spMk id="19" creationId="{873E3493-3E87-97B7-FE40-28474D5AD8D5}"/>
          </ac:spMkLst>
        </pc:spChg>
        <pc:spChg chg="del">
          <ac:chgData name="Gasteiger, Cassidy M" userId="49e4247d-81de-4625-ae16-f189e0b7e529" providerId="ADAL" clId="{EFB976C6-EC52-4602-90C8-86B8954E5255}" dt="2023-03-27T20:48:15.718" v="4352" actId="478"/>
          <ac:spMkLst>
            <pc:docMk/>
            <pc:sldMk cId="638772994" sldId="337"/>
            <ac:spMk id="20" creationId="{32989E97-5012-C37D-A06A-66DC8CB4A8CA}"/>
          </ac:spMkLst>
        </pc:spChg>
        <pc:spChg chg="del">
          <ac:chgData name="Gasteiger, Cassidy M" userId="49e4247d-81de-4625-ae16-f189e0b7e529" providerId="ADAL" clId="{EFB976C6-EC52-4602-90C8-86B8954E5255}" dt="2023-03-27T20:48:15.718" v="4352" actId="478"/>
          <ac:spMkLst>
            <pc:docMk/>
            <pc:sldMk cId="638772994" sldId="337"/>
            <ac:spMk id="21" creationId="{F355602E-194E-95A6-67DE-960DFB897A62}"/>
          </ac:spMkLst>
        </pc:spChg>
        <pc:spChg chg="mod">
          <ac:chgData name="Gasteiger, Cassidy M" userId="49e4247d-81de-4625-ae16-f189e0b7e529" providerId="ADAL" clId="{EFB976C6-EC52-4602-90C8-86B8954E5255}" dt="2023-03-30T15:28:58.456" v="23197" actId="1035"/>
          <ac:spMkLst>
            <pc:docMk/>
            <pc:sldMk cId="638772994" sldId="337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30T15:28:51.737" v="23192"/>
          <ac:grpSpMkLst>
            <pc:docMk/>
            <pc:sldMk cId="638772994" sldId="337"/>
            <ac:grpSpMk id="2" creationId="{35BFC807-3313-1E45-1BE4-61947E41BB7A}"/>
          </ac:grpSpMkLst>
        </pc:grpChg>
        <pc:picChg chg="add mod">
          <ac:chgData name="Gasteiger, Cassidy M" userId="49e4247d-81de-4625-ae16-f189e0b7e529" providerId="ADAL" clId="{EFB976C6-EC52-4602-90C8-86B8954E5255}" dt="2023-03-30T20:51:02.922" v="30200" actId="1076"/>
          <ac:picMkLst>
            <pc:docMk/>
            <pc:sldMk cId="638772994" sldId="337"/>
            <ac:picMk id="7" creationId="{9B6267F5-CA0B-9392-CF4A-A884E9CDF8F2}"/>
          </ac:picMkLst>
        </pc:picChg>
        <pc:picChg chg="del">
          <ac:chgData name="Gasteiger, Cassidy M" userId="49e4247d-81de-4625-ae16-f189e0b7e529" providerId="ADAL" clId="{EFB976C6-EC52-4602-90C8-86B8954E5255}" dt="2023-03-20T18:13:05.794" v="10" actId="478"/>
          <ac:picMkLst>
            <pc:docMk/>
            <pc:sldMk cId="638772994" sldId="337"/>
            <ac:picMk id="9" creationId="{FFD66C5D-1532-459C-154C-71E9DCD20081}"/>
          </ac:picMkLst>
        </pc:picChg>
        <pc:picChg chg="add del mod">
          <ac:chgData name="Gasteiger, Cassidy M" userId="49e4247d-81de-4625-ae16-f189e0b7e529" providerId="ADAL" clId="{EFB976C6-EC52-4602-90C8-86B8954E5255}" dt="2023-03-30T20:50:44.284" v="30192" actId="478"/>
          <ac:picMkLst>
            <pc:docMk/>
            <pc:sldMk cId="638772994" sldId="337"/>
            <ac:picMk id="1026" creationId="{0D931835-45DA-20A1-72AC-7B43AF9327D2}"/>
          </ac:picMkLst>
        </pc:picChg>
        <pc:picChg chg="add del mod">
          <ac:chgData name="Gasteiger, Cassidy M" userId="49e4247d-81de-4625-ae16-f189e0b7e529" providerId="ADAL" clId="{EFB976C6-EC52-4602-90C8-86B8954E5255}" dt="2023-03-29T03:02:22.804" v="10853" actId="478"/>
          <ac:picMkLst>
            <pc:docMk/>
            <pc:sldMk cId="638772994" sldId="337"/>
            <ac:picMk id="2050" creationId="{58CDD81F-BA9A-ACC8-847E-3678D97C1142}"/>
          </ac:picMkLst>
        </pc:picChg>
        <pc:cxnChg chg="del">
          <ac:chgData name="Gasteiger, Cassidy M" userId="49e4247d-81de-4625-ae16-f189e0b7e529" providerId="ADAL" clId="{EFB976C6-EC52-4602-90C8-86B8954E5255}" dt="2023-03-27T20:48:15.718" v="4352" actId="478"/>
          <ac:cxnSpMkLst>
            <pc:docMk/>
            <pc:sldMk cId="638772994" sldId="337"/>
            <ac:cxnSpMk id="5" creationId="{F0DBF409-330E-AA80-E0EC-7E125A22110E}"/>
          </ac:cxnSpMkLst>
        </pc:cxnChg>
        <pc:cxnChg chg="del">
          <ac:chgData name="Gasteiger, Cassidy M" userId="49e4247d-81de-4625-ae16-f189e0b7e529" providerId="ADAL" clId="{EFB976C6-EC52-4602-90C8-86B8954E5255}" dt="2023-03-27T20:48:15.718" v="4352" actId="478"/>
          <ac:cxnSpMkLst>
            <pc:docMk/>
            <pc:sldMk cId="638772994" sldId="337"/>
            <ac:cxnSpMk id="7" creationId="{0B91179C-BF01-7D47-F39D-B129F7F70A1B}"/>
          </ac:cxnSpMkLst>
        </pc:cxnChg>
        <pc:cxnChg chg="add mod">
          <ac:chgData name="Gasteiger, Cassidy M" userId="49e4247d-81de-4625-ae16-f189e0b7e529" providerId="ADAL" clId="{EFB976C6-EC52-4602-90C8-86B8954E5255}" dt="2023-03-30T21:35:20.029" v="31547" actId="1076"/>
          <ac:cxnSpMkLst>
            <pc:docMk/>
            <pc:sldMk cId="638772994" sldId="337"/>
            <ac:cxnSpMk id="10" creationId="{3ED05009-165E-B7C6-6B42-DAD00C7D0301}"/>
          </ac:cxnSpMkLst>
        </pc:cxnChg>
      </pc:sldChg>
      <pc:sldChg chg="delSp del mod delAnim">
        <pc:chgData name="Gasteiger, Cassidy M" userId="49e4247d-81de-4625-ae16-f189e0b7e529" providerId="ADAL" clId="{EFB976C6-EC52-4602-90C8-86B8954E5255}" dt="2023-03-27T19:06:40.518" v="4208" actId="2696"/>
        <pc:sldMkLst>
          <pc:docMk/>
          <pc:sldMk cId="3509279097" sldId="338"/>
        </pc:sldMkLst>
        <pc:picChg chg="del">
          <ac:chgData name="Gasteiger, Cassidy M" userId="49e4247d-81de-4625-ae16-f189e0b7e529" providerId="ADAL" clId="{EFB976C6-EC52-4602-90C8-86B8954E5255}" dt="2023-03-20T18:13:09.427" v="11" actId="478"/>
          <ac:picMkLst>
            <pc:docMk/>
            <pc:sldMk cId="3509279097" sldId="338"/>
            <ac:picMk id="23" creationId="{77DE4ECE-03B1-A797-BAA1-151A6436AB5A}"/>
          </ac:picMkLst>
        </pc:picChg>
      </pc:sldChg>
      <pc:sldChg chg="addSp delSp modSp del mod delAnim">
        <pc:chgData name="Gasteiger, Cassidy M" userId="49e4247d-81de-4625-ae16-f189e0b7e529" providerId="ADAL" clId="{EFB976C6-EC52-4602-90C8-86B8954E5255}" dt="2023-03-26T04:16:17.619" v="1707" actId="2696"/>
        <pc:sldMkLst>
          <pc:docMk/>
          <pc:sldMk cId="3795221313" sldId="340"/>
        </pc:sldMkLst>
        <pc:spChg chg="add mod">
          <ac:chgData name="Gasteiger, Cassidy M" userId="49e4247d-81de-4625-ae16-f189e0b7e529" providerId="ADAL" clId="{EFB976C6-EC52-4602-90C8-86B8954E5255}" dt="2023-03-26T04:12:54.791" v="1623"/>
          <ac:spMkLst>
            <pc:docMk/>
            <pc:sldMk cId="3795221313" sldId="340"/>
            <ac:spMk id="2" creationId="{851AA2C0-DB29-1B47-BF2B-AA55FE60016B}"/>
          </ac:spMkLst>
        </pc:spChg>
        <pc:spChg chg="add mod">
          <ac:chgData name="Gasteiger, Cassidy M" userId="49e4247d-81de-4625-ae16-f189e0b7e529" providerId="ADAL" clId="{EFB976C6-EC52-4602-90C8-86B8954E5255}" dt="2023-03-26T04:14:52.801" v="1678" actId="1076"/>
          <ac:spMkLst>
            <pc:docMk/>
            <pc:sldMk cId="3795221313" sldId="340"/>
            <ac:spMk id="16" creationId="{FBDE952B-065E-BD05-7A68-106F2E3CED84}"/>
          </ac:spMkLst>
        </pc:spChg>
        <pc:spChg chg="mod">
          <ac:chgData name="Gasteiger, Cassidy M" userId="49e4247d-81de-4625-ae16-f189e0b7e529" providerId="ADAL" clId="{EFB976C6-EC52-4602-90C8-86B8954E5255}" dt="2023-03-26T04:14:55.476" v="1686" actId="20577"/>
          <ac:spMkLst>
            <pc:docMk/>
            <pc:sldMk cId="3795221313" sldId="340"/>
            <ac:spMk id="235" creationId="{00000000-0000-0000-0000-000000000000}"/>
          </ac:spMkLst>
        </pc:spChg>
        <pc:picChg chg="del">
          <ac:chgData name="Gasteiger, Cassidy M" userId="49e4247d-81de-4625-ae16-f189e0b7e529" providerId="ADAL" clId="{EFB976C6-EC52-4602-90C8-86B8954E5255}" dt="2023-03-20T18:13:19.361" v="14" actId="478"/>
          <ac:picMkLst>
            <pc:docMk/>
            <pc:sldMk cId="3795221313" sldId="340"/>
            <ac:picMk id="6" creationId="{43D4FEFA-B0A0-FC96-2D6D-4AED39D99A83}"/>
          </ac:picMkLst>
        </pc:picChg>
        <pc:picChg chg="add del mod">
          <ac:chgData name="Gasteiger, Cassidy M" userId="49e4247d-81de-4625-ae16-f189e0b7e529" providerId="ADAL" clId="{EFB976C6-EC52-4602-90C8-86B8954E5255}" dt="2023-03-26T04:13:13.520" v="1636" actId="478"/>
          <ac:picMkLst>
            <pc:docMk/>
            <pc:sldMk cId="3795221313" sldId="340"/>
            <ac:picMk id="9" creationId="{EFFE47FE-1E98-3ED7-39BA-CE47E7F3BF0E}"/>
          </ac:picMkLst>
        </pc:picChg>
        <pc:picChg chg="add del mod">
          <ac:chgData name="Gasteiger, Cassidy M" userId="49e4247d-81de-4625-ae16-f189e0b7e529" providerId="ADAL" clId="{EFB976C6-EC52-4602-90C8-86B8954E5255}" dt="2023-03-26T04:14:11.650" v="1650" actId="478"/>
          <ac:picMkLst>
            <pc:docMk/>
            <pc:sldMk cId="3795221313" sldId="340"/>
            <ac:picMk id="19" creationId="{74707AE4-5365-3E50-9540-1AE9F5EB271B}"/>
          </ac:picMkLst>
        </pc:picChg>
        <pc:picChg chg="add mod">
          <ac:chgData name="Gasteiger, Cassidy M" userId="49e4247d-81de-4625-ae16-f189e0b7e529" providerId="ADAL" clId="{EFB976C6-EC52-4602-90C8-86B8954E5255}" dt="2023-03-26T04:14:34.167" v="1666" actId="1035"/>
          <ac:picMkLst>
            <pc:docMk/>
            <pc:sldMk cId="3795221313" sldId="340"/>
            <ac:picMk id="24" creationId="{FACBA026-5950-DD28-1440-439D23109749}"/>
          </ac:picMkLst>
        </pc:picChg>
      </pc:sldChg>
      <pc:sldChg chg="addSp delSp modSp del mod delAnim">
        <pc:chgData name="Gasteiger, Cassidy M" userId="49e4247d-81de-4625-ae16-f189e0b7e529" providerId="ADAL" clId="{EFB976C6-EC52-4602-90C8-86B8954E5255}" dt="2023-03-30T22:26:42.017" v="32932" actId="2696"/>
        <pc:sldMkLst>
          <pc:docMk/>
          <pc:sldMk cId="957414837" sldId="341"/>
        </pc:sldMkLst>
        <pc:spChg chg="add mod">
          <ac:chgData name="Gasteiger, Cassidy M" userId="49e4247d-81de-4625-ae16-f189e0b7e529" providerId="ADAL" clId="{EFB976C6-EC52-4602-90C8-86B8954E5255}" dt="2023-03-30T20:45:55.732" v="30051" actId="1076"/>
          <ac:spMkLst>
            <pc:docMk/>
            <pc:sldMk cId="957414837" sldId="341"/>
            <ac:spMk id="2" creationId="{2F547B46-AAB3-9E78-63F2-A7EF0CA12F1F}"/>
          </ac:spMkLst>
        </pc:spChg>
        <pc:spChg chg="del">
          <ac:chgData name="Gasteiger, Cassidy M" userId="49e4247d-81de-4625-ae16-f189e0b7e529" providerId="ADAL" clId="{EFB976C6-EC52-4602-90C8-86B8954E5255}" dt="2023-03-26T04:24:31.742" v="2967" actId="478"/>
          <ac:spMkLst>
            <pc:docMk/>
            <pc:sldMk cId="957414837" sldId="341"/>
            <ac:spMk id="3" creationId="{E9D77BA1-BE21-77AC-DB82-B4745D905D52}"/>
          </ac:spMkLst>
        </pc:spChg>
        <pc:spChg chg="del">
          <ac:chgData name="Gasteiger, Cassidy M" userId="49e4247d-81de-4625-ae16-f189e0b7e529" providerId="ADAL" clId="{EFB976C6-EC52-4602-90C8-86B8954E5255}" dt="2023-03-26T04:24:31.742" v="2967" actId="478"/>
          <ac:spMkLst>
            <pc:docMk/>
            <pc:sldMk cId="957414837" sldId="341"/>
            <ac:spMk id="4" creationId="{A4EB89FE-3CD0-B3ED-8458-D0F2FCCE756B}"/>
          </ac:spMkLst>
        </pc:spChg>
        <pc:spChg chg="del">
          <ac:chgData name="Gasteiger, Cassidy M" userId="49e4247d-81de-4625-ae16-f189e0b7e529" providerId="ADAL" clId="{EFB976C6-EC52-4602-90C8-86B8954E5255}" dt="2023-03-26T04:24:31.742" v="2967" actId="478"/>
          <ac:spMkLst>
            <pc:docMk/>
            <pc:sldMk cId="957414837" sldId="341"/>
            <ac:spMk id="5" creationId="{DA2A2259-4F4E-26DA-7BDE-F5CD9909E75E}"/>
          </ac:spMkLst>
        </pc:spChg>
        <pc:spChg chg="del">
          <ac:chgData name="Gasteiger, Cassidy M" userId="49e4247d-81de-4625-ae16-f189e0b7e529" providerId="ADAL" clId="{EFB976C6-EC52-4602-90C8-86B8954E5255}" dt="2023-03-26T04:24:31.742" v="2967" actId="478"/>
          <ac:spMkLst>
            <pc:docMk/>
            <pc:sldMk cId="957414837" sldId="341"/>
            <ac:spMk id="6" creationId="{0F06F7C8-567A-E4E9-C41B-BA23767024B5}"/>
          </ac:spMkLst>
        </pc:spChg>
        <pc:spChg chg="del">
          <ac:chgData name="Gasteiger, Cassidy M" userId="49e4247d-81de-4625-ae16-f189e0b7e529" providerId="ADAL" clId="{EFB976C6-EC52-4602-90C8-86B8954E5255}" dt="2023-03-26T04:24:31.742" v="2967" actId="478"/>
          <ac:spMkLst>
            <pc:docMk/>
            <pc:sldMk cId="957414837" sldId="341"/>
            <ac:spMk id="7" creationId="{54B0EB23-5D84-255B-1028-9B5EAAE24DA4}"/>
          </ac:spMkLst>
        </pc:spChg>
        <pc:spChg chg="del">
          <ac:chgData name="Gasteiger, Cassidy M" userId="49e4247d-81de-4625-ae16-f189e0b7e529" providerId="ADAL" clId="{EFB976C6-EC52-4602-90C8-86B8954E5255}" dt="2023-03-26T04:24:31.742" v="2967" actId="478"/>
          <ac:spMkLst>
            <pc:docMk/>
            <pc:sldMk cId="957414837" sldId="341"/>
            <ac:spMk id="8" creationId="{A540E93E-8B22-9A0E-3885-A1987C89DBD7}"/>
          </ac:spMkLst>
        </pc:spChg>
        <pc:spChg chg="del">
          <ac:chgData name="Gasteiger, Cassidy M" userId="49e4247d-81de-4625-ae16-f189e0b7e529" providerId="ADAL" clId="{EFB976C6-EC52-4602-90C8-86B8954E5255}" dt="2023-03-26T04:24:31.742" v="2967" actId="478"/>
          <ac:spMkLst>
            <pc:docMk/>
            <pc:sldMk cId="957414837" sldId="341"/>
            <ac:spMk id="9" creationId="{0AF981F2-A335-FB1A-BCAA-7A9D7ECE3E5A}"/>
          </ac:spMkLst>
        </pc:spChg>
        <pc:spChg chg="del">
          <ac:chgData name="Gasteiger, Cassidy M" userId="49e4247d-81de-4625-ae16-f189e0b7e529" providerId="ADAL" clId="{EFB976C6-EC52-4602-90C8-86B8954E5255}" dt="2023-03-26T04:24:31.742" v="2967" actId="478"/>
          <ac:spMkLst>
            <pc:docMk/>
            <pc:sldMk cId="957414837" sldId="341"/>
            <ac:spMk id="10" creationId="{2116C77F-781E-809F-A16A-84C83A799442}"/>
          </ac:spMkLst>
        </pc:spChg>
        <pc:spChg chg="add del mod">
          <ac:chgData name="Gasteiger, Cassidy M" userId="49e4247d-81de-4625-ae16-f189e0b7e529" providerId="ADAL" clId="{EFB976C6-EC52-4602-90C8-86B8954E5255}" dt="2023-03-30T16:20:16.137" v="25902" actId="478"/>
          <ac:spMkLst>
            <pc:docMk/>
            <pc:sldMk cId="957414837" sldId="341"/>
            <ac:spMk id="15" creationId="{BA2209B7-8AF5-5557-17B8-3556C02977DF}"/>
          </ac:spMkLst>
        </pc:spChg>
        <pc:spChg chg="add mod">
          <ac:chgData name="Gasteiger, Cassidy M" userId="49e4247d-81de-4625-ae16-f189e0b7e529" providerId="ADAL" clId="{EFB976C6-EC52-4602-90C8-86B8954E5255}" dt="2023-03-26T04:22:45.696" v="2865" actId="1035"/>
          <ac:spMkLst>
            <pc:docMk/>
            <pc:sldMk cId="957414837" sldId="341"/>
            <ac:spMk id="17" creationId="{9B019CAA-CCA3-B713-CC3F-FB187DEAA948}"/>
          </ac:spMkLst>
        </pc:spChg>
        <pc:spChg chg="add mod">
          <ac:chgData name="Gasteiger, Cassidy M" userId="49e4247d-81de-4625-ae16-f189e0b7e529" providerId="ADAL" clId="{EFB976C6-EC52-4602-90C8-86B8954E5255}" dt="2023-03-27T22:44:41.970" v="6066" actId="20577"/>
          <ac:spMkLst>
            <pc:docMk/>
            <pc:sldMk cId="957414837" sldId="341"/>
            <ac:spMk id="20" creationId="{B5EBB787-2005-EBAD-362D-01C148954704}"/>
          </ac:spMkLst>
        </pc:spChg>
        <pc:spChg chg="mod">
          <ac:chgData name="Gasteiger, Cassidy M" userId="49e4247d-81de-4625-ae16-f189e0b7e529" providerId="ADAL" clId="{EFB976C6-EC52-4602-90C8-86B8954E5255}" dt="2023-03-27T22:39:17.072" v="5006" actId="20577"/>
          <ac:spMkLst>
            <pc:docMk/>
            <pc:sldMk cId="957414837" sldId="341"/>
            <ac:spMk id="235" creationId="{00000000-0000-0000-0000-000000000000}"/>
          </ac:spMkLst>
        </pc:spChg>
        <pc:picChg chg="del">
          <ac:chgData name="Gasteiger, Cassidy M" userId="49e4247d-81de-4625-ae16-f189e0b7e529" providerId="ADAL" clId="{EFB976C6-EC52-4602-90C8-86B8954E5255}" dt="2023-03-20T18:13:43.025" v="21" actId="478"/>
          <ac:picMkLst>
            <pc:docMk/>
            <pc:sldMk cId="957414837" sldId="341"/>
            <ac:picMk id="2" creationId="{4A17F395-4098-24F5-914D-D2DE52014D3F}"/>
          </ac:picMkLst>
        </pc:picChg>
        <pc:picChg chg="add del mod">
          <ac:chgData name="Gasteiger, Cassidy M" userId="49e4247d-81de-4625-ae16-f189e0b7e529" providerId="ADAL" clId="{EFB976C6-EC52-4602-90C8-86B8954E5255}" dt="2023-03-26T04:22:47.615" v="2866" actId="478"/>
          <ac:picMkLst>
            <pc:docMk/>
            <pc:sldMk cId="957414837" sldId="341"/>
            <ac:picMk id="16" creationId="{784CFD89-01A2-A51F-55F8-B28EB9A522C6}"/>
          </ac:picMkLst>
        </pc:picChg>
        <pc:picChg chg="add del mod">
          <ac:chgData name="Gasteiger, Cassidy M" userId="49e4247d-81de-4625-ae16-f189e0b7e529" providerId="ADAL" clId="{EFB976C6-EC52-4602-90C8-86B8954E5255}" dt="2023-03-30T16:20:16.137" v="25902" actId="478"/>
          <ac:picMkLst>
            <pc:docMk/>
            <pc:sldMk cId="957414837" sldId="341"/>
            <ac:picMk id="19" creationId="{24BC20AD-59F1-47D8-C1E6-2E071B451FE3}"/>
          </ac:picMkLst>
        </pc:picChg>
        <pc:cxnChg chg="del mod">
          <ac:chgData name="Gasteiger, Cassidy M" userId="49e4247d-81de-4625-ae16-f189e0b7e529" providerId="ADAL" clId="{EFB976C6-EC52-4602-90C8-86B8954E5255}" dt="2023-03-26T04:24:31.742" v="2967" actId="478"/>
          <ac:cxnSpMkLst>
            <pc:docMk/>
            <pc:sldMk cId="957414837" sldId="341"/>
            <ac:cxnSpMk id="11" creationId="{3D2FFE1C-02BD-1F78-97D8-04BBC2D75931}"/>
          </ac:cxnSpMkLst>
        </pc:cxnChg>
        <pc:cxnChg chg="del">
          <ac:chgData name="Gasteiger, Cassidy M" userId="49e4247d-81de-4625-ae16-f189e0b7e529" providerId="ADAL" clId="{EFB976C6-EC52-4602-90C8-86B8954E5255}" dt="2023-03-26T04:24:31.742" v="2967" actId="478"/>
          <ac:cxnSpMkLst>
            <pc:docMk/>
            <pc:sldMk cId="957414837" sldId="341"/>
            <ac:cxnSpMk id="12" creationId="{D1E41B09-AD16-6AB0-E718-3AA7C4AE7EE7}"/>
          </ac:cxnSpMkLst>
        </pc:cxnChg>
        <pc:cxnChg chg="del">
          <ac:chgData name="Gasteiger, Cassidy M" userId="49e4247d-81de-4625-ae16-f189e0b7e529" providerId="ADAL" clId="{EFB976C6-EC52-4602-90C8-86B8954E5255}" dt="2023-03-26T04:24:31.742" v="2967" actId="478"/>
          <ac:cxnSpMkLst>
            <pc:docMk/>
            <pc:sldMk cId="957414837" sldId="341"/>
            <ac:cxnSpMk id="13" creationId="{9366CA94-19E4-76E6-1A2C-3418B975DFBB}"/>
          </ac:cxnSpMkLst>
        </pc:cxnChg>
        <pc:cxnChg chg="del">
          <ac:chgData name="Gasteiger, Cassidy M" userId="49e4247d-81de-4625-ae16-f189e0b7e529" providerId="ADAL" clId="{EFB976C6-EC52-4602-90C8-86B8954E5255}" dt="2023-03-26T04:24:31.742" v="2967" actId="478"/>
          <ac:cxnSpMkLst>
            <pc:docMk/>
            <pc:sldMk cId="957414837" sldId="341"/>
            <ac:cxnSpMk id="14" creationId="{2466EDAD-6898-FB30-FA5E-14FDEC41F62E}"/>
          </ac:cxnSpMkLst>
        </pc:cxnChg>
      </pc:sldChg>
      <pc:sldChg chg="addSp delSp modSp del mod ord delAnim">
        <pc:chgData name="Gasteiger, Cassidy M" userId="49e4247d-81de-4625-ae16-f189e0b7e529" providerId="ADAL" clId="{EFB976C6-EC52-4602-90C8-86B8954E5255}" dt="2023-03-30T21:25:43.484" v="31544" actId="2696"/>
        <pc:sldMkLst>
          <pc:docMk/>
          <pc:sldMk cId="2682253010" sldId="342"/>
        </pc:sldMkLst>
        <pc:spChg chg="add del mod">
          <ac:chgData name="Gasteiger, Cassidy M" userId="49e4247d-81de-4625-ae16-f189e0b7e529" providerId="ADAL" clId="{EFB976C6-EC52-4602-90C8-86B8954E5255}" dt="2023-03-30T15:29:06.061" v="23199" actId="478"/>
          <ac:spMkLst>
            <pc:docMk/>
            <pc:sldMk cId="2682253010" sldId="342"/>
            <ac:spMk id="2" creationId="{F098E5C7-7B68-DCF9-D4D3-4116DF732764}"/>
          </ac:spMkLst>
        </pc:spChg>
        <pc:spChg chg="add del mod">
          <ac:chgData name="Gasteiger, Cassidy M" userId="49e4247d-81de-4625-ae16-f189e0b7e529" providerId="ADAL" clId="{EFB976C6-EC52-4602-90C8-86B8954E5255}" dt="2023-03-30T15:29:05.261" v="23198" actId="478"/>
          <ac:spMkLst>
            <pc:docMk/>
            <pc:sldMk cId="2682253010" sldId="342"/>
            <ac:spMk id="3" creationId="{147FA591-52E7-09A6-392E-5EED6FBCFEF9}"/>
          </ac:spMkLst>
        </pc:spChg>
        <pc:spChg chg="mod">
          <ac:chgData name="Gasteiger, Cassidy M" userId="49e4247d-81de-4625-ae16-f189e0b7e529" providerId="ADAL" clId="{EFB976C6-EC52-4602-90C8-86B8954E5255}" dt="2023-03-30T15:29:19.994" v="23231" actId="20577"/>
          <ac:spMkLst>
            <pc:docMk/>
            <pc:sldMk cId="2682253010" sldId="342"/>
            <ac:spMk id="6" creationId="{BE2B185C-0E28-7174-E513-1CF0C7D8EAC7}"/>
          </ac:spMkLst>
        </pc:spChg>
        <pc:spChg chg="mod">
          <ac:chgData name="Gasteiger, Cassidy M" userId="49e4247d-81de-4625-ae16-f189e0b7e529" providerId="ADAL" clId="{EFB976C6-EC52-4602-90C8-86B8954E5255}" dt="2023-03-30T15:29:12.946" v="23200"/>
          <ac:spMkLst>
            <pc:docMk/>
            <pc:sldMk cId="2682253010" sldId="342"/>
            <ac:spMk id="7" creationId="{056CD95E-54C5-E686-68AF-C6DF988DBE1E}"/>
          </ac:spMkLst>
        </pc:spChg>
        <pc:spChg chg="mod">
          <ac:chgData name="Gasteiger, Cassidy M" userId="49e4247d-81de-4625-ae16-f189e0b7e529" providerId="ADAL" clId="{EFB976C6-EC52-4602-90C8-86B8954E5255}" dt="2023-03-26T04:16:04.903" v="1704" actId="208"/>
          <ac:spMkLst>
            <pc:docMk/>
            <pc:sldMk cId="2682253010" sldId="342"/>
            <ac:spMk id="22" creationId="{EA9F1E84-2C95-A503-8466-7CBAA5D66FF9}"/>
          </ac:spMkLst>
        </pc:spChg>
        <pc:spChg chg="mod">
          <ac:chgData name="Gasteiger, Cassidy M" userId="49e4247d-81de-4625-ae16-f189e0b7e529" providerId="ADAL" clId="{EFB976C6-EC52-4602-90C8-86B8954E5255}" dt="2023-03-26T04:16:08.813" v="1705" actId="208"/>
          <ac:spMkLst>
            <pc:docMk/>
            <pc:sldMk cId="2682253010" sldId="342"/>
            <ac:spMk id="31" creationId="{61561BC8-0664-7394-8287-BBD6202FD8C1}"/>
          </ac:spMkLst>
        </pc:spChg>
        <pc:spChg chg="mod">
          <ac:chgData name="Gasteiger, Cassidy M" userId="49e4247d-81de-4625-ae16-f189e0b7e529" providerId="ADAL" clId="{EFB976C6-EC52-4602-90C8-86B8954E5255}" dt="2023-03-26T04:16:13.612" v="1706" actId="208"/>
          <ac:spMkLst>
            <pc:docMk/>
            <pc:sldMk cId="2682253010" sldId="342"/>
            <ac:spMk id="32" creationId="{9D7AA025-4938-72FD-F5BD-02E325D9D306}"/>
          </ac:spMkLst>
        </pc:spChg>
        <pc:spChg chg="mod">
          <ac:chgData name="Gasteiger, Cassidy M" userId="49e4247d-81de-4625-ae16-f189e0b7e529" providerId="ADAL" clId="{EFB976C6-EC52-4602-90C8-86B8954E5255}" dt="2023-03-26T04:15:49.447" v="1701" actId="207"/>
          <ac:spMkLst>
            <pc:docMk/>
            <pc:sldMk cId="2682253010" sldId="342"/>
            <ac:spMk id="33" creationId="{F85308F3-A9E8-0C29-10A4-C56A192119A4}"/>
          </ac:spMkLst>
        </pc:spChg>
        <pc:spChg chg="mod">
          <ac:chgData name="Gasteiger, Cassidy M" userId="49e4247d-81de-4625-ae16-f189e0b7e529" providerId="ADAL" clId="{EFB976C6-EC52-4602-90C8-86B8954E5255}" dt="2023-03-26T04:15:55.083" v="1702" actId="207"/>
          <ac:spMkLst>
            <pc:docMk/>
            <pc:sldMk cId="2682253010" sldId="342"/>
            <ac:spMk id="34" creationId="{06B8CE2B-624F-5554-88E2-0FF841372D46}"/>
          </ac:spMkLst>
        </pc:spChg>
        <pc:spChg chg="mod">
          <ac:chgData name="Gasteiger, Cassidy M" userId="49e4247d-81de-4625-ae16-f189e0b7e529" providerId="ADAL" clId="{EFB976C6-EC52-4602-90C8-86B8954E5255}" dt="2023-03-26T04:15:59.297" v="1703" actId="207"/>
          <ac:spMkLst>
            <pc:docMk/>
            <pc:sldMk cId="2682253010" sldId="342"/>
            <ac:spMk id="35" creationId="{492DE9AF-82C5-F203-E49F-57D7D33EF38B}"/>
          </ac:spMkLst>
        </pc:spChg>
        <pc:spChg chg="mod">
          <ac:chgData name="Gasteiger, Cassidy M" userId="49e4247d-81de-4625-ae16-f189e0b7e529" providerId="ADAL" clId="{EFB976C6-EC52-4602-90C8-86B8954E5255}" dt="2023-03-26T04:15:43.496" v="1700" actId="207"/>
          <ac:spMkLst>
            <pc:docMk/>
            <pc:sldMk cId="2682253010" sldId="342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30T15:29:12.946" v="23200"/>
          <ac:grpSpMkLst>
            <pc:docMk/>
            <pc:sldMk cId="2682253010" sldId="342"/>
            <ac:grpSpMk id="5" creationId="{2A1A95B4-A2F0-7047-78AB-96F276A66553}"/>
          </ac:grpSpMkLst>
        </pc:grpChg>
        <pc:picChg chg="add del mod">
          <ac:chgData name="Gasteiger, Cassidy M" userId="49e4247d-81de-4625-ae16-f189e0b7e529" providerId="ADAL" clId="{EFB976C6-EC52-4602-90C8-86B8954E5255}" dt="2023-03-30T15:29:05.261" v="23198" actId="478"/>
          <ac:picMkLst>
            <pc:docMk/>
            <pc:sldMk cId="2682253010" sldId="342"/>
            <ac:picMk id="4" creationId="{8F177A29-4DB7-CD1F-2E5D-6E2F2958235C}"/>
          </ac:picMkLst>
        </pc:picChg>
        <pc:picChg chg="del">
          <ac:chgData name="Gasteiger, Cassidy M" userId="49e4247d-81de-4625-ae16-f189e0b7e529" providerId="ADAL" clId="{EFB976C6-EC52-4602-90C8-86B8954E5255}" dt="2023-03-20T18:13:21.878" v="15" actId="478"/>
          <ac:picMkLst>
            <pc:docMk/>
            <pc:sldMk cId="2682253010" sldId="342"/>
            <ac:picMk id="49" creationId="{4B67BB50-06D7-3F44-2123-1E00D6FB9733}"/>
          </ac:picMkLst>
        </pc:picChg>
      </pc:sldChg>
      <pc:sldChg chg="delSp del mod delAnim">
        <pc:chgData name="Gasteiger, Cassidy M" userId="49e4247d-81de-4625-ae16-f189e0b7e529" providerId="ADAL" clId="{EFB976C6-EC52-4602-90C8-86B8954E5255}" dt="2023-03-27T19:06:46.838" v="4209" actId="2696"/>
        <pc:sldMkLst>
          <pc:docMk/>
          <pc:sldMk cId="4125541901" sldId="344"/>
        </pc:sldMkLst>
        <pc:picChg chg="del">
          <ac:chgData name="Gasteiger, Cassidy M" userId="49e4247d-81de-4625-ae16-f189e0b7e529" providerId="ADAL" clId="{EFB976C6-EC52-4602-90C8-86B8954E5255}" dt="2023-03-20T18:13:11.985" v="12" actId="478"/>
          <ac:picMkLst>
            <pc:docMk/>
            <pc:sldMk cId="4125541901" sldId="344"/>
            <ac:picMk id="20" creationId="{32E8FEFB-1E47-99C8-BAF0-2E08B3C57252}"/>
          </ac:picMkLst>
        </pc:picChg>
      </pc:sldChg>
      <pc:sldChg chg="addSp delSp modSp mod delAnim">
        <pc:chgData name="Gasteiger, Cassidy M" userId="49e4247d-81de-4625-ae16-f189e0b7e529" providerId="ADAL" clId="{EFB976C6-EC52-4602-90C8-86B8954E5255}" dt="2023-03-31T03:35:27.489" v="41609" actId="208"/>
        <pc:sldMkLst>
          <pc:docMk/>
          <pc:sldMk cId="4114930642" sldId="345"/>
        </pc:sldMkLst>
        <pc:spChg chg="add del mod">
          <ac:chgData name="Gasteiger, Cassidy M" userId="49e4247d-81de-4625-ae16-f189e0b7e529" providerId="ADAL" clId="{EFB976C6-EC52-4602-90C8-86B8954E5255}" dt="2023-03-26T04:11:54.678" v="1615" actId="478"/>
          <ac:spMkLst>
            <pc:docMk/>
            <pc:sldMk cId="4114930642" sldId="345"/>
            <ac:spMk id="2" creationId="{036C252D-E9D2-7B12-5ECE-36947D08CDDC}"/>
          </ac:spMkLst>
        </pc:spChg>
        <pc:spChg chg="del">
          <ac:chgData name="Gasteiger, Cassidy M" userId="49e4247d-81de-4625-ae16-f189e0b7e529" providerId="ADAL" clId="{EFB976C6-EC52-4602-90C8-86B8954E5255}" dt="2023-03-26T03:57:14.976" v="929" actId="478"/>
          <ac:spMkLst>
            <pc:docMk/>
            <pc:sldMk cId="4114930642" sldId="345"/>
            <ac:spMk id="3" creationId="{03D68723-443D-3F63-938C-37B7F8DE1A17}"/>
          </ac:spMkLst>
        </pc:spChg>
        <pc:spChg chg="mod">
          <ac:chgData name="Gasteiger, Cassidy M" userId="49e4247d-81de-4625-ae16-f189e0b7e529" providerId="ADAL" clId="{EFB976C6-EC52-4602-90C8-86B8954E5255}" dt="2023-03-30T15:25:18.233" v="23103" actId="20577"/>
          <ac:spMkLst>
            <pc:docMk/>
            <pc:sldMk cId="4114930642" sldId="345"/>
            <ac:spMk id="3" creationId="{CA412C6D-FEBC-21B2-9280-5FB27B56E35F}"/>
          </ac:spMkLst>
        </pc:spChg>
        <pc:spChg chg="mod">
          <ac:chgData name="Gasteiger, Cassidy M" userId="49e4247d-81de-4625-ae16-f189e0b7e529" providerId="ADAL" clId="{EFB976C6-EC52-4602-90C8-86B8954E5255}" dt="2023-03-30T15:25:14.988" v="23099"/>
          <ac:spMkLst>
            <pc:docMk/>
            <pc:sldMk cId="4114930642" sldId="345"/>
            <ac:spMk id="4" creationId="{BA415504-5B2F-277D-5AB1-E803C8F332E6}"/>
          </ac:spMkLst>
        </pc:spChg>
        <pc:spChg chg="add del mod">
          <ac:chgData name="Gasteiger, Cassidy M" userId="49e4247d-81de-4625-ae16-f189e0b7e529" providerId="ADAL" clId="{EFB976C6-EC52-4602-90C8-86B8954E5255}" dt="2023-03-26T04:11:54.678" v="1615" actId="478"/>
          <ac:spMkLst>
            <pc:docMk/>
            <pc:sldMk cId="4114930642" sldId="345"/>
            <ac:spMk id="4" creationId="{DC659FFA-91CB-2969-7446-46FE25F826F1}"/>
          </ac:spMkLst>
        </pc:spChg>
        <pc:spChg chg="add mod">
          <ac:chgData name="Gasteiger, Cassidy M" userId="49e4247d-81de-4625-ae16-f189e0b7e529" providerId="ADAL" clId="{EFB976C6-EC52-4602-90C8-86B8954E5255}" dt="2023-03-31T03:35:27.489" v="41609" actId="208"/>
          <ac:spMkLst>
            <pc:docMk/>
            <pc:sldMk cId="4114930642" sldId="345"/>
            <ac:spMk id="5" creationId="{4D030F7D-DF1C-9DA7-36A9-7F2B6FA98866}"/>
          </ac:spMkLst>
        </pc:spChg>
        <pc:spChg chg="add mod">
          <ac:chgData name="Gasteiger, Cassidy M" userId="49e4247d-81de-4625-ae16-f189e0b7e529" providerId="ADAL" clId="{EFB976C6-EC52-4602-90C8-86B8954E5255}" dt="2023-03-31T03:35:11.435" v="41608" actId="1076"/>
          <ac:spMkLst>
            <pc:docMk/>
            <pc:sldMk cId="4114930642" sldId="345"/>
            <ac:spMk id="6" creationId="{C62214DA-A82E-209E-EA58-8BD5250222F6}"/>
          </ac:spMkLst>
        </pc:spChg>
        <pc:spChg chg="add del mod">
          <ac:chgData name="Gasteiger, Cassidy M" userId="49e4247d-81de-4625-ae16-f189e0b7e529" providerId="ADAL" clId="{EFB976C6-EC52-4602-90C8-86B8954E5255}" dt="2023-03-30T15:25:14.461" v="23098" actId="478"/>
          <ac:spMkLst>
            <pc:docMk/>
            <pc:sldMk cId="4114930642" sldId="345"/>
            <ac:spMk id="6" creationId="{EDFFB169-630B-30FE-2B3B-E5A099F1A17F}"/>
          </ac:spMkLst>
        </pc:spChg>
        <pc:spChg chg="add del mod">
          <ac:chgData name="Gasteiger, Cassidy M" userId="49e4247d-81de-4625-ae16-f189e0b7e529" providerId="ADAL" clId="{EFB976C6-EC52-4602-90C8-86B8954E5255}" dt="2023-03-30T15:25:14.461" v="23098" actId="478"/>
          <ac:spMkLst>
            <pc:docMk/>
            <pc:sldMk cId="4114930642" sldId="345"/>
            <ac:spMk id="9" creationId="{A40E9F25-BD78-DAFA-95D5-4DF6DC92D0F7}"/>
          </ac:spMkLst>
        </pc:spChg>
        <pc:spChg chg="add del mod">
          <ac:chgData name="Gasteiger, Cassidy M" userId="49e4247d-81de-4625-ae16-f189e0b7e529" providerId="ADAL" clId="{EFB976C6-EC52-4602-90C8-86B8954E5255}" dt="2023-03-31T03:34:39.425" v="41572" actId="478"/>
          <ac:spMkLst>
            <pc:docMk/>
            <pc:sldMk cId="4114930642" sldId="345"/>
            <ac:spMk id="10" creationId="{2BE95F10-8E32-B298-B8DF-C71624633BCC}"/>
          </ac:spMkLst>
        </pc:spChg>
        <pc:spChg chg="mod">
          <ac:chgData name="Gasteiger, Cassidy M" userId="49e4247d-81de-4625-ae16-f189e0b7e529" providerId="ADAL" clId="{EFB976C6-EC52-4602-90C8-86B8954E5255}" dt="2023-03-28T19:27:12.622" v="7581" actId="20577"/>
          <ac:spMkLst>
            <pc:docMk/>
            <pc:sldMk cId="4114930642" sldId="345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30T15:25:14.988" v="23099"/>
          <ac:grpSpMkLst>
            <pc:docMk/>
            <pc:sldMk cId="4114930642" sldId="345"/>
            <ac:grpSpMk id="2" creationId="{9B636C42-499D-B7F9-6AE7-BC8005FD6021}"/>
          </ac:grpSpMkLst>
        </pc:grpChg>
        <pc:picChg chg="add del mod">
          <ac:chgData name="Gasteiger, Cassidy M" userId="49e4247d-81de-4625-ae16-f189e0b7e529" providerId="ADAL" clId="{EFB976C6-EC52-4602-90C8-86B8954E5255}" dt="2023-03-26T04:11:54.678" v="1615" actId="478"/>
          <ac:picMkLst>
            <pc:docMk/>
            <pc:sldMk cId="4114930642" sldId="345"/>
            <ac:picMk id="5" creationId="{C26B6B12-D37B-876C-3484-CD8254F75DD7}"/>
          </ac:picMkLst>
        </pc:picChg>
        <pc:picChg chg="del">
          <ac:chgData name="Gasteiger, Cassidy M" userId="49e4247d-81de-4625-ae16-f189e0b7e529" providerId="ADAL" clId="{EFB976C6-EC52-4602-90C8-86B8954E5255}" dt="2023-03-20T18:12:56.851" v="7" actId="478"/>
          <ac:picMkLst>
            <pc:docMk/>
            <pc:sldMk cId="4114930642" sldId="345"/>
            <ac:picMk id="7" creationId="{1C6D7BD9-D08A-988A-1B1A-029B7536D107}"/>
          </ac:picMkLst>
        </pc:picChg>
        <pc:picChg chg="add del mod">
          <ac:chgData name="Gasteiger, Cassidy M" userId="49e4247d-81de-4625-ae16-f189e0b7e529" providerId="ADAL" clId="{EFB976C6-EC52-4602-90C8-86B8954E5255}" dt="2023-03-30T15:25:14.461" v="23098" actId="478"/>
          <ac:picMkLst>
            <pc:docMk/>
            <pc:sldMk cId="4114930642" sldId="345"/>
            <ac:picMk id="8" creationId="{6F697A2F-629C-EE9A-C3C6-159B20020EF5}"/>
          </ac:picMkLst>
        </pc:picChg>
      </pc:sldChg>
      <pc:sldChg chg="add del ord">
        <pc:chgData name="Gasteiger, Cassidy M" userId="49e4247d-81de-4625-ae16-f189e0b7e529" providerId="ADAL" clId="{EFB976C6-EC52-4602-90C8-86B8954E5255}" dt="2023-03-20T21:11:21.676" v="474" actId="2696"/>
        <pc:sldMkLst>
          <pc:docMk/>
          <pc:sldMk cId="327368746" sldId="346"/>
        </pc:sldMkLst>
      </pc:sldChg>
      <pc:sldChg chg="delSp modSp add del mod ord">
        <pc:chgData name="Gasteiger, Cassidy M" userId="49e4247d-81de-4625-ae16-f189e0b7e529" providerId="ADAL" clId="{EFB976C6-EC52-4602-90C8-86B8954E5255}" dt="2023-03-31T03:37:13.344" v="41631" actId="2696"/>
        <pc:sldMkLst>
          <pc:docMk/>
          <pc:sldMk cId="529855019" sldId="347"/>
        </pc:sldMkLst>
        <pc:spChg chg="mod">
          <ac:chgData name="Gasteiger, Cassidy M" userId="49e4247d-81de-4625-ae16-f189e0b7e529" providerId="ADAL" clId="{EFB976C6-EC52-4602-90C8-86B8954E5255}" dt="2023-03-30T20:26:28.374" v="29798" actId="20577"/>
          <ac:spMkLst>
            <pc:docMk/>
            <pc:sldMk cId="529855019" sldId="347"/>
            <ac:spMk id="3" creationId="{5FA0448D-DE93-1151-5028-BC6AF6ECB4C0}"/>
          </ac:spMkLst>
        </pc:spChg>
        <pc:spChg chg="mod">
          <ac:chgData name="Gasteiger, Cassidy M" userId="49e4247d-81de-4625-ae16-f189e0b7e529" providerId="ADAL" clId="{EFB976C6-EC52-4602-90C8-86B8954E5255}" dt="2023-03-26T04:02:57.102" v="1031" actId="207"/>
          <ac:spMkLst>
            <pc:docMk/>
            <pc:sldMk cId="529855019" sldId="347"/>
            <ac:spMk id="10" creationId="{29980911-3E67-8701-4E55-CD8978F98F6A}"/>
          </ac:spMkLst>
        </pc:spChg>
        <pc:spChg chg="mod">
          <ac:chgData name="Gasteiger, Cassidy M" userId="49e4247d-81de-4625-ae16-f189e0b7e529" providerId="ADAL" clId="{EFB976C6-EC52-4602-90C8-86B8954E5255}" dt="2023-03-26T04:03:01.406" v="1032" actId="207"/>
          <ac:spMkLst>
            <pc:docMk/>
            <pc:sldMk cId="529855019" sldId="347"/>
            <ac:spMk id="15" creationId="{1AE94B59-9087-3A30-3ED4-D89E737D2B60}"/>
          </ac:spMkLst>
        </pc:spChg>
        <pc:spChg chg="mod">
          <ac:chgData name="Gasteiger, Cassidy M" userId="49e4247d-81de-4625-ae16-f189e0b7e529" providerId="ADAL" clId="{EFB976C6-EC52-4602-90C8-86B8954E5255}" dt="2023-03-30T20:26:12.029" v="29735" actId="20577"/>
          <ac:spMkLst>
            <pc:docMk/>
            <pc:sldMk cId="529855019" sldId="347"/>
            <ac:spMk id="16" creationId="{19AF8C1E-C8DE-5A65-D0AC-D474A921EA1F}"/>
          </ac:spMkLst>
        </pc:spChg>
        <pc:spChg chg="mod">
          <ac:chgData name="Gasteiger, Cassidy M" userId="49e4247d-81de-4625-ae16-f189e0b7e529" providerId="ADAL" clId="{EFB976C6-EC52-4602-90C8-86B8954E5255}" dt="2023-03-30T20:39:55.523" v="30025" actId="20577"/>
          <ac:spMkLst>
            <pc:docMk/>
            <pc:sldMk cId="529855019" sldId="347"/>
            <ac:spMk id="18" creationId="{01C5DA3C-9EBB-5B5B-CC2D-58F1CFB12BBB}"/>
          </ac:spMkLst>
        </pc:spChg>
        <pc:spChg chg="mod">
          <ac:chgData name="Gasteiger, Cassidy M" userId="49e4247d-81de-4625-ae16-f189e0b7e529" providerId="ADAL" clId="{EFB976C6-EC52-4602-90C8-86B8954E5255}" dt="2023-03-30T20:26:23.672" v="29767" actId="20577"/>
          <ac:spMkLst>
            <pc:docMk/>
            <pc:sldMk cId="529855019" sldId="347"/>
            <ac:spMk id="20" creationId="{89BAC1AB-EB28-1CB4-BF7F-CD04671B2342}"/>
          </ac:spMkLst>
        </pc:spChg>
        <pc:grpChg chg="del">
          <ac:chgData name="Gasteiger, Cassidy M" userId="49e4247d-81de-4625-ae16-f189e0b7e529" providerId="ADAL" clId="{EFB976C6-EC52-4602-90C8-86B8954E5255}" dt="2023-03-31T02:45:58.857" v="40995" actId="478"/>
          <ac:grpSpMkLst>
            <pc:docMk/>
            <pc:sldMk cId="529855019" sldId="347"/>
            <ac:grpSpMk id="4" creationId="{A623DE95-88E5-499A-8B12-4186614D3899}"/>
          </ac:grpSpMkLst>
        </pc:grpChg>
        <pc:grpChg chg="del">
          <ac:chgData name="Gasteiger, Cassidy M" userId="49e4247d-81de-4625-ae16-f189e0b7e529" providerId="ADAL" clId="{EFB976C6-EC52-4602-90C8-86B8954E5255}" dt="2023-03-31T02:45:58.857" v="40995" actId="478"/>
          <ac:grpSpMkLst>
            <pc:docMk/>
            <pc:sldMk cId="529855019" sldId="347"/>
            <ac:grpSpMk id="11" creationId="{3159D46D-A3D8-5778-2BE6-DF79F32D4325}"/>
          </ac:grpSpMkLst>
        </pc:grpChg>
        <pc:grpChg chg="del">
          <ac:chgData name="Gasteiger, Cassidy M" userId="49e4247d-81de-4625-ae16-f189e0b7e529" providerId="ADAL" clId="{EFB976C6-EC52-4602-90C8-86B8954E5255}" dt="2023-03-31T02:45:58.857" v="40995" actId="478"/>
          <ac:grpSpMkLst>
            <pc:docMk/>
            <pc:sldMk cId="529855019" sldId="347"/>
            <ac:grpSpMk id="21" creationId="{3A7C8EA4-BABF-2303-9137-B1B18107DFC0}"/>
          </ac:grpSpMkLst>
        </pc:grpChg>
        <pc:grpChg chg="del">
          <ac:chgData name="Gasteiger, Cassidy M" userId="49e4247d-81de-4625-ae16-f189e0b7e529" providerId="ADAL" clId="{EFB976C6-EC52-4602-90C8-86B8954E5255}" dt="2023-03-31T02:45:58.857" v="40995" actId="478"/>
          <ac:grpSpMkLst>
            <pc:docMk/>
            <pc:sldMk cId="529855019" sldId="347"/>
            <ac:grpSpMk id="25" creationId="{37B11C27-00F0-3762-508E-B661363587FA}"/>
          </ac:grpSpMkLst>
        </pc:grpChg>
      </pc:sldChg>
      <pc:sldChg chg="modSp add del mod ord">
        <pc:chgData name="Gasteiger, Cassidy M" userId="49e4247d-81de-4625-ae16-f189e0b7e529" providerId="ADAL" clId="{EFB976C6-EC52-4602-90C8-86B8954E5255}" dt="2023-03-30T20:40:47.034" v="30040" actId="2696"/>
        <pc:sldMkLst>
          <pc:docMk/>
          <pc:sldMk cId="321396022" sldId="348"/>
        </pc:sldMkLst>
        <pc:spChg chg="mod">
          <ac:chgData name="Gasteiger, Cassidy M" userId="49e4247d-81de-4625-ae16-f189e0b7e529" providerId="ADAL" clId="{EFB976C6-EC52-4602-90C8-86B8954E5255}" dt="2023-03-26T04:12:30.771" v="1621" actId="207"/>
          <ac:spMkLst>
            <pc:docMk/>
            <pc:sldMk cId="321396022" sldId="348"/>
            <ac:spMk id="10" creationId="{29980911-3E67-8701-4E55-CD8978F98F6A}"/>
          </ac:spMkLst>
        </pc:spChg>
        <pc:spChg chg="mod">
          <ac:chgData name="Gasteiger, Cassidy M" userId="49e4247d-81de-4625-ae16-f189e0b7e529" providerId="ADAL" clId="{EFB976C6-EC52-4602-90C8-86B8954E5255}" dt="2023-03-26T04:12:34.998" v="1622" actId="207"/>
          <ac:spMkLst>
            <pc:docMk/>
            <pc:sldMk cId="321396022" sldId="348"/>
            <ac:spMk id="17" creationId="{EE3D9B4D-EF3A-89E3-35C8-548C7C288FF7}"/>
          </ac:spMkLst>
        </pc:spChg>
        <pc:spChg chg="mod">
          <ac:chgData name="Gasteiger, Cassidy M" userId="49e4247d-81de-4625-ae16-f189e0b7e529" providerId="ADAL" clId="{EFB976C6-EC52-4602-90C8-86B8954E5255}" dt="2023-03-29T05:39:43.202" v="10889" actId="20577"/>
          <ac:spMkLst>
            <pc:docMk/>
            <pc:sldMk cId="321396022" sldId="348"/>
            <ac:spMk id="18" creationId="{01C5DA3C-9EBB-5B5B-CC2D-58F1CFB12BBB}"/>
          </ac:spMkLst>
        </pc:spChg>
      </pc:sldChg>
      <pc:sldChg chg="modSp add del mod ord">
        <pc:chgData name="Gasteiger, Cassidy M" userId="49e4247d-81de-4625-ae16-f189e0b7e529" providerId="ADAL" clId="{EFB976C6-EC52-4602-90C8-86B8954E5255}" dt="2023-03-30T20:48:50.298" v="30074" actId="2696"/>
        <pc:sldMkLst>
          <pc:docMk/>
          <pc:sldMk cId="3217655901" sldId="349"/>
        </pc:sldMkLst>
        <pc:spChg chg="mod">
          <ac:chgData name="Gasteiger, Cassidy M" userId="49e4247d-81de-4625-ae16-f189e0b7e529" providerId="ADAL" clId="{EFB976C6-EC52-4602-90C8-86B8954E5255}" dt="2023-03-30T20:45:32.592" v="30048" actId="207"/>
          <ac:spMkLst>
            <pc:docMk/>
            <pc:sldMk cId="3217655901" sldId="349"/>
            <ac:spMk id="2" creationId="{2B2AA85E-C3EB-2039-19ED-F5B6C60AAF13}"/>
          </ac:spMkLst>
        </pc:spChg>
        <pc:spChg chg="mod">
          <ac:chgData name="Gasteiger, Cassidy M" userId="49e4247d-81de-4625-ae16-f189e0b7e529" providerId="ADAL" clId="{EFB976C6-EC52-4602-90C8-86B8954E5255}" dt="2023-03-26T04:21:56.378" v="2833" actId="207"/>
          <ac:spMkLst>
            <pc:docMk/>
            <pc:sldMk cId="3217655901" sldId="349"/>
            <ac:spMk id="10" creationId="{29980911-3E67-8701-4E55-CD8978F98F6A}"/>
          </ac:spMkLst>
        </pc:spChg>
        <pc:spChg chg="mod">
          <ac:chgData name="Gasteiger, Cassidy M" userId="49e4247d-81de-4625-ae16-f189e0b7e529" providerId="ADAL" clId="{EFB976C6-EC52-4602-90C8-86B8954E5255}" dt="2023-03-30T20:45:28.946" v="30047" actId="207"/>
          <ac:spMkLst>
            <pc:docMk/>
            <pc:sldMk cId="3217655901" sldId="349"/>
            <ac:spMk id="19" creationId="{8615E72A-AF87-57B2-D90A-AF13671EEF9E}"/>
          </ac:spMkLst>
        </pc:spChg>
      </pc:sldChg>
      <pc:sldChg chg="addSp delSp modSp add mod ord modAnim">
        <pc:chgData name="Gasteiger, Cassidy M" userId="49e4247d-81de-4625-ae16-f189e0b7e529" providerId="ADAL" clId="{EFB976C6-EC52-4602-90C8-86B8954E5255}" dt="2023-03-30T20:08:19.475" v="28619" actId="1036"/>
        <pc:sldMkLst>
          <pc:docMk/>
          <pc:sldMk cId="1618349175" sldId="350"/>
        </pc:sldMkLst>
        <pc:spChg chg="mod">
          <ac:chgData name="Gasteiger, Cassidy M" userId="49e4247d-81de-4625-ae16-f189e0b7e529" providerId="ADAL" clId="{EFB976C6-EC52-4602-90C8-86B8954E5255}" dt="2023-03-30T15:12:51.561" v="22203" actId="20577"/>
          <ac:spMkLst>
            <pc:docMk/>
            <pc:sldMk cId="1618349175" sldId="350"/>
            <ac:spMk id="3" creationId="{76891E63-1430-C810-35E3-AC721D0F68AC}"/>
          </ac:spMkLst>
        </pc:spChg>
        <pc:spChg chg="add del mod">
          <ac:chgData name="Gasteiger, Cassidy M" userId="49e4247d-81de-4625-ae16-f189e0b7e529" providerId="ADAL" clId="{EFB976C6-EC52-4602-90C8-86B8954E5255}" dt="2023-03-29T16:48:52.276" v="11736" actId="208"/>
          <ac:spMkLst>
            <pc:docMk/>
            <pc:sldMk cId="1618349175" sldId="350"/>
            <ac:spMk id="4" creationId="{E9E55DF4-020E-AFA9-72F3-34E5F6C33DF6}"/>
          </ac:spMkLst>
        </pc:spChg>
        <pc:spChg chg="mod">
          <ac:chgData name="Gasteiger, Cassidy M" userId="49e4247d-81de-4625-ae16-f189e0b7e529" providerId="ADAL" clId="{EFB976C6-EC52-4602-90C8-86B8954E5255}" dt="2023-03-29T16:48:36.918" v="11731" actId="207"/>
          <ac:spMkLst>
            <pc:docMk/>
            <pc:sldMk cId="1618349175" sldId="350"/>
            <ac:spMk id="5" creationId="{156AD7EE-7FC0-FAFC-CCB5-26B727047441}"/>
          </ac:spMkLst>
        </pc:spChg>
        <pc:spChg chg="mod">
          <ac:chgData name="Gasteiger, Cassidy M" userId="49e4247d-81de-4625-ae16-f189e0b7e529" providerId="ADAL" clId="{EFB976C6-EC52-4602-90C8-86B8954E5255}" dt="2023-03-30T20:08:19.475" v="28619" actId="1036"/>
          <ac:spMkLst>
            <pc:docMk/>
            <pc:sldMk cId="1618349175" sldId="350"/>
            <ac:spMk id="6" creationId="{E9B0C0FF-B9BC-F139-DE13-4CFF1DE0CC5F}"/>
          </ac:spMkLst>
        </pc:spChg>
        <pc:spChg chg="mod">
          <ac:chgData name="Gasteiger, Cassidy M" userId="49e4247d-81de-4625-ae16-f189e0b7e529" providerId="ADAL" clId="{EFB976C6-EC52-4602-90C8-86B8954E5255}" dt="2023-03-30T20:07:36.602" v="28589" actId="20577"/>
          <ac:spMkLst>
            <pc:docMk/>
            <pc:sldMk cId="1618349175" sldId="350"/>
            <ac:spMk id="8" creationId="{1AAC2778-8BDA-F075-B122-27DA7400696F}"/>
          </ac:spMkLst>
        </pc:spChg>
        <pc:spChg chg="mod">
          <ac:chgData name="Gasteiger, Cassidy M" userId="49e4247d-81de-4625-ae16-f189e0b7e529" providerId="ADAL" clId="{EFB976C6-EC52-4602-90C8-86B8954E5255}" dt="2023-03-29T16:49:17.856" v="11742" actId="208"/>
          <ac:spMkLst>
            <pc:docMk/>
            <pc:sldMk cId="1618349175" sldId="350"/>
            <ac:spMk id="9" creationId="{3727C0C4-C86F-3BDB-62B8-18516C79A521}"/>
          </ac:spMkLst>
        </pc:spChg>
        <pc:spChg chg="add del mod">
          <ac:chgData name="Gasteiger, Cassidy M" userId="49e4247d-81de-4625-ae16-f189e0b7e529" providerId="ADAL" clId="{EFB976C6-EC52-4602-90C8-86B8954E5255}" dt="2023-03-26T04:10:47.814" v="1556" actId="478"/>
          <ac:spMkLst>
            <pc:docMk/>
            <pc:sldMk cId="1618349175" sldId="350"/>
            <ac:spMk id="10" creationId="{6FA00477-F69A-C8F9-549F-F835544D3C42}"/>
          </ac:spMkLst>
        </pc:spChg>
        <pc:spChg chg="mod">
          <ac:chgData name="Gasteiger, Cassidy M" userId="49e4247d-81de-4625-ae16-f189e0b7e529" providerId="ADAL" clId="{EFB976C6-EC52-4602-90C8-86B8954E5255}" dt="2023-03-29T16:49:13.596" v="11741" actId="207"/>
          <ac:spMkLst>
            <pc:docMk/>
            <pc:sldMk cId="1618349175" sldId="350"/>
            <ac:spMk id="10" creationId="{8287A5D3-E672-C8AA-3DED-7B4CDF6E4324}"/>
          </ac:spMkLst>
        </pc:spChg>
        <pc:spChg chg="mod">
          <ac:chgData name="Gasteiger, Cassidy M" userId="49e4247d-81de-4625-ae16-f189e0b7e529" providerId="ADAL" clId="{EFB976C6-EC52-4602-90C8-86B8954E5255}" dt="2023-03-29T16:49:21.074" v="11743" actId="207"/>
          <ac:spMkLst>
            <pc:docMk/>
            <pc:sldMk cId="1618349175" sldId="350"/>
            <ac:spMk id="11" creationId="{49537E04-13E4-AABC-5BDF-6A751650489A}"/>
          </ac:spMkLst>
        </pc:spChg>
        <pc:spChg chg="mod">
          <ac:chgData name="Gasteiger, Cassidy M" userId="49e4247d-81de-4625-ae16-f189e0b7e529" providerId="ADAL" clId="{EFB976C6-EC52-4602-90C8-86B8954E5255}" dt="2023-03-30T15:16:38.582" v="22440" actId="20577"/>
          <ac:spMkLst>
            <pc:docMk/>
            <pc:sldMk cId="1618349175" sldId="350"/>
            <ac:spMk id="13" creationId="{D6284CA1-1AC1-AF99-D8E1-6FAF4570E057}"/>
          </ac:spMkLst>
        </pc:spChg>
        <pc:spChg chg="del">
          <ac:chgData name="Gasteiger, Cassidy M" userId="49e4247d-81de-4625-ae16-f189e0b7e529" providerId="ADAL" clId="{EFB976C6-EC52-4602-90C8-86B8954E5255}" dt="2023-03-26T03:10:20.833" v="594" actId="478"/>
          <ac:spMkLst>
            <pc:docMk/>
            <pc:sldMk cId="1618349175" sldId="350"/>
            <ac:spMk id="14" creationId="{5C0726E6-BF6D-2BD4-F1DE-E47953A2FFD5}"/>
          </ac:spMkLst>
        </pc:spChg>
        <pc:spChg chg="mod">
          <ac:chgData name="Gasteiger, Cassidy M" userId="49e4247d-81de-4625-ae16-f189e0b7e529" providerId="ADAL" clId="{EFB976C6-EC52-4602-90C8-86B8954E5255}" dt="2023-03-29T16:49:08.667" v="11740" actId="207"/>
          <ac:spMkLst>
            <pc:docMk/>
            <pc:sldMk cId="1618349175" sldId="350"/>
            <ac:spMk id="14" creationId="{9141F4F0-0F4A-5792-AE22-F1037872A5C9}"/>
          </ac:spMkLst>
        </pc:spChg>
        <pc:spChg chg="mod">
          <ac:chgData name="Gasteiger, Cassidy M" userId="49e4247d-81de-4625-ae16-f189e0b7e529" providerId="ADAL" clId="{EFB976C6-EC52-4602-90C8-86B8954E5255}" dt="2023-03-29T16:49:02.198" v="11738" actId="208"/>
          <ac:spMkLst>
            <pc:docMk/>
            <pc:sldMk cId="1618349175" sldId="350"/>
            <ac:spMk id="15" creationId="{E0223E43-8399-11CF-F1B9-B08D770B8D0A}"/>
          </ac:spMkLst>
        </pc:spChg>
        <pc:spChg chg="mod">
          <ac:chgData name="Gasteiger, Cassidy M" userId="49e4247d-81de-4625-ae16-f189e0b7e529" providerId="ADAL" clId="{EFB976C6-EC52-4602-90C8-86B8954E5255}" dt="2023-03-30T15:16:53.446" v="22443" actId="1035"/>
          <ac:spMkLst>
            <pc:docMk/>
            <pc:sldMk cId="1618349175" sldId="350"/>
            <ac:spMk id="16" creationId="{626C7A38-D9A2-9A10-E738-A6A79A3186A7}"/>
          </ac:spMkLst>
        </pc:spChg>
        <pc:spChg chg="mod">
          <ac:chgData name="Gasteiger, Cassidy M" userId="49e4247d-81de-4625-ae16-f189e0b7e529" providerId="ADAL" clId="{EFB976C6-EC52-4602-90C8-86B8954E5255}" dt="2023-03-29T16:47:43.014" v="11674" actId="20577"/>
          <ac:spMkLst>
            <pc:docMk/>
            <pc:sldMk cId="1618349175" sldId="350"/>
            <ac:spMk id="18" creationId="{61BAB1A1-92B5-ADD0-3262-18DFC328C406}"/>
          </ac:spMkLst>
        </pc:spChg>
        <pc:spChg chg="mod">
          <ac:chgData name="Gasteiger, Cassidy M" userId="49e4247d-81de-4625-ae16-f189e0b7e529" providerId="ADAL" clId="{EFB976C6-EC52-4602-90C8-86B8954E5255}" dt="2023-03-29T16:49:34.298" v="11746" actId="207"/>
          <ac:spMkLst>
            <pc:docMk/>
            <pc:sldMk cId="1618349175" sldId="350"/>
            <ac:spMk id="19" creationId="{556C3106-608C-1485-66CB-13817ABAA99C}"/>
          </ac:spMkLst>
        </pc:spChg>
        <pc:spChg chg="add del mod">
          <ac:chgData name="Gasteiger, Cassidy M" userId="49e4247d-81de-4625-ae16-f189e0b7e529" providerId="ADAL" clId="{EFB976C6-EC52-4602-90C8-86B8954E5255}" dt="2023-03-26T04:10:28.142" v="1549" actId="478"/>
          <ac:spMkLst>
            <pc:docMk/>
            <pc:sldMk cId="1618349175" sldId="350"/>
            <ac:spMk id="19" creationId="{E5719359-46B7-858C-AE1B-5AB175721B75}"/>
          </ac:spMkLst>
        </pc:spChg>
        <pc:spChg chg="mod">
          <ac:chgData name="Gasteiger, Cassidy M" userId="49e4247d-81de-4625-ae16-f189e0b7e529" providerId="ADAL" clId="{EFB976C6-EC52-4602-90C8-86B8954E5255}" dt="2023-03-29T16:49:29.571" v="11745" actId="208"/>
          <ac:spMkLst>
            <pc:docMk/>
            <pc:sldMk cId="1618349175" sldId="350"/>
            <ac:spMk id="20" creationId="{27820576-E9D4-1DE3-7651-43BD9F224037}"/>
          </ac:spMkLst>
        </pc:spChg>
        <pc:spChg chg="mod">
          <ac:chgData name="Gasteiger, Cassidy M" userId="49e4247d-81de-4625-ae16-f189e0b7e529" providerId="ADAL" clId="{EFB976C6-EC52-4602-90C8-86B8954E5255}" dt="2023-03-29T16:49:25.866" v="11744" actId="207"/>
          <ac:spMkLst>
            <pc:docMk/>
            <pc:sldMk cId="1618349175" sldId="350"/>
            <ac:spMk id="21" creationId="{00CAAF8E-1526-5701-B67C-492858ED0993}"/>
          </ac:spMkLst>
        </pc:spChg>
        <pc:spChg chg="add del mod">
          <ac:chgData name="Gasteiger, Cassidy M" userId="49e4247d-81de-4625-ae16-f189e0b7e529" providerId="ADAL" clId="{EFB976C6-EC52-4602-90C8-86B8954E5255}" dt="2023-03-29T16:46:51.419" v="11436" actId="478"/>
          <ac:spMkLst>
            <pc:docMk/>
            <pc:sldMk cId="1618349175" sldId="350"/>
            <ac:spMk id="24" creationId="{5322A1F4-D3DD-36F8-ADEF-3407B376150E}"/>
          </ac:spMkLst>
        </pc:spChg>
        <pc:spChg chg="add del mod">
          <ac:chgData name="Gasteiger, Cassidy M" userId="49e4247d-81de-4625-ae16-f189e0b7e529" providerId="ADAL" clId="{EFB976C6-EC52-4602-90C8-86B8954E5255}" dt="2023-03-29T16:51:57.666" v="11766" actId="478"/>
          <ac:spMkLst>
            <pc:docMk/>
            <pc:sldMk cId="1618349175" sldId="350"/>
            <ac:spMk id="25" creationId="{3EC949C9-BF76-7FD4-C26E-4C88C077BA81}"/>
          </ac:spMkLst>
        </pc:spChg>
        <pc:spChg chg="add del mod">
          <ac:chgData name="Gasteiger, Cassidy M" userId="49e4247d-81de-4625-ae16-f189e0b7e529" providerId="ADAL" clId="{EFB976C6-EC52-4602-90C8-86B8954E5255}" dt="2023-03-26T03:47:37.500" v="843" actId="478"/>
          <ac:spMkLst>
            <pc:docMk/>
            <pc:sldMk cId="1618349175" sldId="350"/>
            <ac:spMk id="26" creationId="{82620DE2-536F-480E-3B14-43EE914BA401}"/>
          </ac:spMkLst>
        </pc:spChg>
        <pc:spChg chg="mod">
          <ac:chgData name="Gasteiger, Cassidy M" userId="49e4247d-81de-4625-ae16-f189e0b7e529" providerId="ADAL" clId="{EFB976C6-EC52-4602-90C8-86B8954E5255}" dt="2023-03-29T16:46:48.767" v="11435" actId="165"/>
          <ac:spMkLst>
            <pc:docMk/>
            <pc:sldMk cId="1618349175" sldId="350"/>
            <ac:spMk id="26" creationId="{F13B7644-EA44-FAEB-85FC-3B0655428EF7}"/>
          </ac:spMkLst>
        </pc:spChg>
        <pc:spChg chg="add mod">
          <ac:chgData name="Gasteiger, Cassidy M" userId="49e4247d-81de-4625-ae16-f189e0b7e529" providerId="ADAL" clId="{EFB976C6-EC52-4602-90C8-86B8954E5255}" dt="2023-03-29T16:47:53.154" v="11675" actId="1076"/>
          <ac:spMkLst>
            <pc:docMk/>
            <pc:sldMk cId="1618349175" sldId="350"/>
            <ac:spMk id="27" creationId="{44CC9F42-57EC-D591-AE94-9296AC086732}"/>
          </ac:spMkLst>
        </pc:spChg>
        <pc:spChg chg="add del mod">
          <ac:chgData name="Gasteiger, Cassidy M" userId="49e4247d-81de-4625-ae16-f189e0b7e529" providerId="ADAL" clId="{EFB976C6-EC52-4602-90C8-86B8954E5255}" dt="2023-03-29T16:46:48.767" v="11435" actId="165"/>
          <ac:spMkLst>
            <pc:docMk/>
            <pc:sldMk cId="1618349175" sldId="350"/>
            <ac:spMk id="28" creationId="{D3A28619-06A5-27BB-ADBC-B29B34D443F7}"/>
          </ac:spMkLst>
        </pc:spChg>
        <pc:spChg chg="add del mod">
          <ac:chgData name="Gasteiger, Cassidy M" userId="49e4247d-81de-4625-ae16-f189e0b7e529" providerId="ADAL" clId="{EFB976C6-EC52-4602-90C8-86B8954E5255}" dt="2023-03-29T05:40:40.759" v="10890" actId="478"/>
          <ac:spMkLst>
            <pc:docMk/>
            <pc:sldMk cId="1618349175" sldId="350"/>
            <ac:spMk id="29" creationId="{1CE8128D-363D-5BEC-378C-E8879F7BCC5E}"/>
          </ac:spMkLst>
        </pc:spChg>
        <pc:spChg chg="mod">
          <ac:chgData name="Gasteiger, Cassidy M" userId="49e4247d-81de-4625-ae16-f189e0b7e529" providerId="ADAL" clId="{EFB976C6-EC52-4602-90C8-86B8954E5255}" dt="2023-03-29T16:46:48.767" v="11435" actId="165"/>
          <ac:spMkLst>
            <pc:docMk/>
            <pc:sldMk cId="1618349175" sldId="350"/>
            <ac:spMk id="30" creationId="{22F187B8-BFA2-22E9-7C1E-64D90A33E262}"/>
          </ac:spMkLst>
        </pc:spChg>
        <pc:spChg chg="add del mod">
          <ac:chgData name="Gasteiger, Cassidy M" userId="49e4247d-81de-4625-ae16-f189e0b7e529" providerId="ADAL" clId="{EFB976C6-EC52-4602-90C8-86B8954E5255}" dt="2023-03-29T05:40:40.759" v="10890" actId="478"/>
          <ac:spMkLst>
            <pc:docMk/>
            <pc:sldMk cId="1618349175" sldId="350"/>
            <ac:spMk id="31" creationId="{BAA5DB24-BF69-7CB9-7D16-29BFE4DA9A88}"/>
          </ac:spMkLst>
        </pc:spChg>
        <pc:spChg chg="add mod">
          <ac:chgData name="Gasteiger, Cassidy M" userId="49e4247d-81de-4625-ae16-f189e0b7e529" providerId="ADAL" clId="{EFB976C6-EC52-4602-90C8-86B8954E5255}" dt="2023-03-30T20:07:56.471" v="28615" actId="1036"/>
          <ac:spMkLst>
            <pc:docMk/>
            <pc:sldMk cId="1618349175" sldId="350"/>
            <ac:spMk id="33" creationId="{8E00F936-4E94-96E9-AE68-D629635C5E3C}"/>
          </ac:spMkLst>
        </pc:spChg>
        <pc:spChg chg="mod topLvl">
          <ac:chgData name="Gasteiger, Cassidy M" userId="49e4247d-81de-4625-ae16-f189e0b7e529" providerId="ADAL" clId="{EFB976C6-EC52-4602-90C8-86B8954E5255}" dt="2023-03-29T16:52:47.709" v="11777" actId="207"/>
          <ac:spMkLst>
            <pc:docMk/>
            <pc:sldMk cId="1618349175" sldId="350"/>
            <ac:spMk id="35" creationId="{374BC6FB-F7EE-AB3B-121D-1BE3C9123362}"/>
          </ac:spMkLst>
        </pc:spChg>
        <pc:spChg chg="mod topLvl">
          <ac:chgData name="Gasteiger, Cassidy M" userId="49e4247d-81de-4625-ae16-f189e0b7e529" providerId="ADAL" clId="{EFB976C6-EC52-4602-90C8-86B8954E5255}" dt="2023-03-30T16:08:20.377" v="24423" actId="20577"/>
          <ac:spMkLst>
            <pc:docMk/>
            <pc:sldMk cId="1618349175" sldId="350"/>
            <ac:spMk id="36" creationId="{E1670EF0-5C8F-FF9D-0BA6-149E326C4FA7}"/>
          </ac:spMkLst>
        </pc:spChg>
        <pc:spChg chg="add del mod">
          <ac:chgData name="Gasteiger, Cassidy M" userId="49e4247d-81de-4625-ae16-f189e0b7e529" providerId="ADAL" clId="{EFB976C6-EC52-4602-90C8-86B8954E5255}" dt="2023-03-26T03:50:38.995" v="869" actId="478"/>
          <ac:spMkLst>
            <pc:docMk/>
            <pc:sldMk cId="1618349175" sldId="350"/>
            <ac:spMk id="37" creationId="{632B20B7-FFE0-3964-5ECA-F84D888B07FA}"/>
          </ac:spMkLst>
        </pc:spChg>
        <pc:spChg chg="mod topLvl">
          <ac:chgData name="Gasteiger, Cassidy M" userId="49e4247d-81de-4625-ae16-f189e0b7e529" providerId="ADAL" clId="{EFB976C6-EC52-4602-90C8-86B8954E5255}" dt="2023-03-29T16:51:22.374" v="11754" actId="14100"/>
          <ac:spMkLst>
            <pc:docMk/>
            <pc:sldMk cId="1618349175" sldId="350"/>
            <ac:spMk id="37" creationId="{645EEECA-A045-8080-E679-5E7AD410E480}"/>
          </ac:spMkLst>
        </pc:spChg>
        <pc:spChg chg="add del mod">
          <ac:chgData name="Gasteiger, Cassidy M" userId="49e4247d-81de-4625-ae16-f189e0b7e529" providerId="ADAL" clId="{EFB976C6-EC52-4602-90C8-86B8954E5255}" dt="2023-03-26T03:50:37.584" v="868" actId="478"/>
          <ac:spMkLst>
            <pc:docMk/>
            <pc:sldMk cId="1618349175" sldId="350"/>
            <ac:spMk id="38" creationId="{1B2D3E84-16AB-BC8D-BC7A-C740426BADBA}"/>
          </ac:spMkLst>
        </pc:spChg>
        <pc:spChg chg="del mod topLvl">
          <ac:chgData name="Gasteiger, Cassidy M" userId="49e4247d-81de-4625-ae16-f189e0b7e529" providerId="ADAL" clId="{EFB976C6-EC52-4602-90C8-86B8954E5255}" dt="2023-03-29T16:52:34.675" v="11775" actId="478"/>
          <ac:spMkLst>
            <pc:docMk/>
            <pc:sldMk cId="1618349175" sldId="350"/>
            <ac:spMk id="38" creationId="{82DCAEB5-2541-C01F-6E16-E22E07CD007E}"/>
          </ac:spMkLst>
        </pc:spChg>
        <pc:spChg chg="add del mod">
          <ac:chgData name="Gasteiger, Cassidy M" userId="49e4247d-81de-4625-ae16-f189e0b7e529" providerId="ADAL" clId="{EFB976C6-EC52-4602-90C8-86B8954E5255}" dt="2023-03-29T05:40:40.759" v="10890" actId="478"/>
          <ac:spMkLst>
            <pc:docMk/>
            <pc:sldMk cId="1618349175" sldId="350"/>
            <ac:spMk id="39" creationId="{154FB532-68F4-8935-A022-AD87F60F013C}"/>
          </ac:spMkLst>
        </pc:spChg>
        <pc:spChg chg="add del mod">
          <ac:chgData name="Gasteiger, Cassidy M" userId="49e4247d-81de-4625-ae16-f189e0b7e529" providerId="ADAL" clId="{EFB976C6-EC52-4602-90C8-86B8954E5255}" dt="2023-03-29T05:40:40.759" v="10890" actId="478"/>
          <ac:spMkLst>
            <pc:docMk/>
            <pc:sldMk cId="1618349175" sldId="350"/>
            <ac:spMk id="40" creationId="{40DB4714-B184-97CA-B8CD-86F1AA0B1DDC}"/>
          </ac:spMkLst>
        </pc:spChg>
        <pc:spChg chg="add del mod">
          <ac:chgData name="Gasteiger, Cassidy M" userId="49e4247d-81de-4625-ae16-f189e0b7e529" providerId="ADAL" clId="{EFB976C6-EC52-4602-90C8-86B8954E5255}" dt="2023-03-26T04:10:06.318" v="1514"/>
          <ac:spMkLst>
            <pc:docMk/>
            <pc:sldMk cId="1618349175" sldId="350"/>
            <ac:spMk id="41" creationId="{89577063-4C9F-3CEF-C145-42C4A924B8BE}"/>
          </ac:spMkLst>
        </pc:spChg>
        <pc:spChg chg="add mod">
          <ac:chgData name="Gasteiger, Cassidy M" userId="49e4247d-81de-4625-ae16-f189e0b7e529" providerId="ADAL" clId="{EFB976C6-EC52-4602-90C8-86B8954E5255}" dt="2023-03-29T16:52:41.599" v="11776" actId="1076"/>
          <ac:spMkLst>
            <pc:docMk/>
            <pc:sldMk cId="1618349175" sldId="350"/>
            <ac:spMk id="42" creationId="{2EB57009-67BC-6B22-2F72-85734760122C}"/>
          </ac:spMkLst>
        </pc:spChg>
        <pc:spChg chg="add del mod">
          <ac:chgData name="Gasteiger, Cassidy M" userId="49e4247d-81de-4625-ae16-f189e0b7e529" providerId="ADAL" clId="{EFB976C6-EC52-4602-90C8-86B8954E5255}" dt="2023-03-26T04:10:06.318" v="1514"/>
          <ac:spMkLst>
            <pc:docMk/>
            <pc:sldMk cId="1618349175" sldId="350"/>
            <ac:spMk id="42" creationId="{64FCF057-E149-6871-158E-613792517243}"/>
          </ac:spMkLst>
        </pc:spChg>
        <pc:spChg chg="add del mod">
          <ac:chgData name="Gasteiger, Cassidy M" userId="49e4247d-81de-4625-ae16-f189e0b7e529" providerId="ADAL" clId="{EFB976C6-EC52-4602-90C8-86B8954E5255}" dt="2023-03-26T04:10:06.318" v="1514"/>
          <ac:spMkLst>
            <pc:docMk/>
            <pc:sldMk cId="1618349175" sldId="350"/>
            <ac:spMk id="44" creationId="{7F05E791-61EB-260D-7AE2-1A04774B70BA}"/>
          </ac:spMkLst>
        </pc:spChg>
        <pc:spChg chg="mod">
          <ac:chgData name="Gasteiger, Cassidy M" userId="49e4247d-81de-4625-ae16-f189e0b7e529" providerId="ADAL" clId="{EFB976C6-EC52-4602-90C8-86B8954E5255}" dt="2023-03-30T15:18:45.878" v="22833"/>
          <ac:spMkLst>
            <pc:docMk/>
            <pc:sldMk cId="1618349175" sldId="350"/>
            <ac:spMk id="46" creationId="{CD177E66-33FA-FAC2-CB21-170A2BBA7E81}"/>
          </ac:spMkLst>
        </pc:spChg>
        <pc:spChg chg="add del mod">
          <ac:chgData name="Gasteiger, Cassidy M" userId="49e4247d-81de-4625-ae16-f189e0b7e529" providerId="ADAL" clId="{EFB976C6-EC52-4602-90C8-86B8954E5255}" dt="2023-03-26T04:10:03.382" v="1508"/>
          <ac:spMkLst>
            <pc:docMk/>
            <pc:sldMk cId="1618349175" sldId="350"/>
            <ac:spMk id="46" creationId="{DE27A40A-F82F-2F7A-DA1D-2A161A8C84A2}"/>
          </ac:spMkLst>
        </pc:spChg>
        <pc:spChg chg="mod">
          <ac:chgData name="Gasteiger, Cassidy M" userId="49e4247d-81de-4625-ae16-f189e0b7e529" providerId="ADAL" clId="{EFB976C6-EC52-4602-90C8-86B8954E5255}" dt="2023-03-30T15:18:45.878" v="22833"/>
          <ac:spMkLst>
            <pc:docMk/>
            <pc:sldMk cId="1618349175" sldId="350"/>
            <ac:spMk id="47" creationId="{3CA9C766-E066-D00C-2305-510C587E6562}"/>
          </ac:spMkLst>
        </pc:spChg>
        <pc:spChg chg="add del mod">
          <ac:chgData name="Gasteiger, Cassidy M" userId="49e4247d-81de-4625-ae16-f189e0b7e529" providerId="ADAL" clId="{EFB976C6-EC52-4602-90C8-86B8954E5255}" dt="2023-03-26T04:10:03.382" v="1508"/>
          <ac:spMkLst>
            <pc:docMk/>
            <pc:sldMk cId="1618349175" sldId="350"/>
            <ac:spMk id="47" creationId="{B511E8FD-84A4-AA03-C1AB-F6EFF9768E42}"/>
          </ac:spMkLst>
        </pc:spChg>
        <pc:spChg chg="mod">
          <ac:chgData name="Gasteiger, Cassidy M" userId="49e4247d-81de-4625-ae16-f189e0b7e529" providerId="ADAL" clId="{EFB976C6-EC52-4602-90C8-86B8954E5255}" dt="2023-03-30T15:18:45.878" v="22833"/>
          <ac:spMkLst>
            <pc:docMk/>
            <pc:sldMk cId="1618349175" sldId="350"/>
            <ac:spMk id="48" creationId="{65D1B9BF-BBBE-8A9F-8063-82CB55E6061A}"/>
          </ac:spMkLst>
        </pc:spChg>
        <pc:spChg chg="mod">
          <ac:chgData name="Gasteiger, Cassidy M" userId="49e4247d-81de-4625-ae16-f189e0b7e529" providerId="ADAL" clId="{EFB976C6-EC52-4602-90C8-86B8954E5255}" dt="2023-03-30T15:18:45.878" v="22833"/>
          <ac:spMkLst>
            <pc:docMk/>
            <pc:sldMk cId="1618349175" sldId="350"/>
            <ac:spMk id="49" creationId="{48FCA194-D738-781C-42AC-FF4161B0C792}"/>
          </ac:spMkLst>
        </pc:spChg>
        <pc:spChg chg="add del mod">
          <ac:chgData name="Gasteiger, Cassidy M" userId="49e4247d-81de-4625-ae16-f189e0b7e529" providerId="ADAL" clId="{EFB976C6-EC52-4602-90C8-86B8954E5255}" dt="2023-03-26T04:10:03.250" v="1507"/>
          <ac:spMkLst>
            <pc:docMk/>
            <pc:sldMk cId="1618349175" sldId="350"/>
            <ac:spMk id="49" creationId="{61F1E1D5-6F2A-2D32-2B9F-87AC669D0A74}"/>
          </ac:spMkLst>
        </pc:spChg>
        <pc:spChg chg="add del mod">
          <ac:chgData name="Gasteiger, Cassidy M" userId="49e4247d-81de-4625-ae16-f189e0b7e529" providerId="ADAL" clId="{EFB976C6-EC52-4602-90C8-86B8954E5255}" dt="2023-03-26T04:10:03.250" v="1507"/>
          <ac:spMkLst>
            <pc:docMk/>
            <pc:sldMk cId="1618349175" sldId="350"/>
            <ac:spMk id="50" creationId="{715D8958-F17B-554A-9AF2-4392A4F4A216}"/>
          </ac:spMkLst>
        </pc:spChg>
        <pc:spChg chg="add mod">
          <ac:chgData name="Gasteiger, Cassidy M" userId="49e4247d-81de-4625-ae16-f189e0b7e529" providerId="ADAL" clId="{EFB976C6-EC52-4602-90C8-86B8954E5255}" dt="2023-03-30T20:06:43.774" v="28588" actId="20577"/>
          <ac:spMkLst>
            <pc:docMk/>
            <pc:sldMk cId="1618349175" sldId="350"/>
            <ac:spMk id="50" creationId="{B2B1551B-C263-CB47-EAD4-6D0056F7FE67}"/>
          </ac:spMkLst>
        </pc:spChg>
        <pc:spChg chg="add del mod">
          <ac:chgData name="Gasteiger, Cassidy M" userId="49e4247d-81de-4625-ae16-f189e0b7e529" providerId="ADAL" clId="{EFB976C6-EC52-4602-90C8-86B8954E5255}" dt="2023-03-26T04:10:03.234" v="1506"/>
          <ac:spMkLst>
            <pc:docMk/>
            <pc:sldMk cId="1618349175" sldId="350"/>
            <ac:spMk id="52" creationId="{EC420725-1515-07FA-6993-98F84F93D0D6}"/>
          </ac:spMkLst>
        </pc:spChg>
        <pc:spChg chg="mod">
          <ac:chgData name="Gasteiger, Cassidy M" userId="49e4247d-81de-4625-ae16-f189e0b7e529" providerId="ADAL" clId="{EFB976C6-EC52-4602-90C8-86B8954E5255}" dt="2023-03-30T15:24:41.771" v="23091" actId="20577"/>
          <ac:spMkLst>
            <pc:docMk/>
            <pc:sldMk cId="1618349175" sldId="350"/>
            <ac:spMk id="52" creationId="{FA737A64-1DC5-B94E-67A9-2B2D4B0B326E}"/>
          </ac:spMkLst>
        </pc:spChg>
        <pc:spChg chg="add del mod">
          <ac:chgData name="Gasteiger, Cassidy M" userId="49e4247d-81de-4625-ae16-f189e0b7e529" providerId="ADAL" clId="{EFB976C6-EC52-4602-90C8-86B8954E5255}" dt="2023-03-26T04:10:03.234" v="1506"/>
          <ac:spMkLst>
            <pc:docMk/>
            <pc:sldMk cId="1618349175" sldId="350"/>
            <ac:spMk id="53" creationId="{30B27C0F-DD1D-FE66-D020-EDED4BDD9980}"/>
          </ac:spMkLst>
        </pc:spChg>
        <pc:spChg chg="mod">
          <ac:chgData name="Gasteiger, Cassidy M" userId="49e4247d-81de-4625-ae16-f189e0b7e529" providerId="ADAL" clId="{EFB976C6-EC52-4602-90C8-86B8954E5255}" dt="2023-03-30T15:24:36.296" v="23075"/>
          <ac:spMkLst>
            <pc:docMk/>
            <pc:sldMk cId="1618349175" sldId="350"/>
            <ac:spMk id="53" creationId="{7B484104-388C-1D3E-D9D2-C83B0C8F9C3E}"/>
          </ac:spMkLst>
        </pc:spChg>
        <pc:spChg chg="add del mod">
          <ac:chgData name="Gasteiger, Cassidy M" userId="49e4247d-81de-4625-ae16-f189e0b7e529" providerId="ADAL" clId="{EFB976C6-EC52-4602-90C8-86B8954E5255}" dt="2023-03-26T04:10:02.704" v="1505"/>
          <ac:spMkLst>
            <pc:docMk/>
            <pc:sldMk cId="1618349175" sldId="350"/>
            <ac:spMk id="58" creationId="{B693C43A-5699-9148-A1F9-100029FFA388}"/>
          </ac:spMkLst>
        </pc:spChg>
        <pc:spChg chg="add del mod">
          <ac:chgData name="Gasteiger, Cassidy M" userId="49e4247d-81de-4625-ae16-f189e0b7e529" providerId="ADAL" clId="{EFB976C6-EC52-4602-90C8-86B8954E5255}" dt="2023-03-26T04:10:02.704" v="1505"/>
          <ac:spMkLst>
            <pc:docMk/>
            <pc:sldMk cId="1618349175" sldId="350"/>
            <ac:spMk id="59" creationId="{F62D4BF7-10FC-8742-1C26-BC8F0820CF88}"/>
          </ac:spMkLst>
        </pc:spChg>
        <pc:spChg chg="add del mod ord">
          <ac:chgData name="Gasteiger, Cassidy M" userId="49e4247d-81de-4625-ae16-f189e0b7e529" providerId="ADAL" clId="{EFB976C6-EC52-4602-90C8-86B8954E5255}" dt="2023-03-30T15:24:35.882" v="23074" actId="478"/>
          <ac:spMkLst>
            <pc:docMk/>
            <pc:sldMk cId="1618349175" sldId="350"/>
            <ac:spMk id="61" creationId="{7E85F0AD-F931-77AB-08A5-43A9F1DB1A9A}"/>
          </ac:spMkLst>
        </pc:spChg>
        <pc:spChg chg="add del mod">
          <ac:chgData name="Gasteiger, Cassidy M" userId="49e4247d-81de-4625-ae16-f189e0b7e529" providerId="ADAL" clId="{EFB976C6-EC52-4602-90C8-86B8954E5255}" dt="2023-03-26T04:10:41.741" v="1553" actId="478"/>
          <ac:spMkLst>
            <pc:docMk/>
            <pc:sldMk cId="1618349175" sldId="350"/>
            <ac:spMk id="62" creationId="{53843C37-6101-2811-BC31-62CFB05A25D4}"/>
          </ac:spMkLst>
        </pc:spChg>
        <pc:spChg chg="add del mod">
          <ac:chgData name="Gasteiger, Cassidy M" userId="49e4247d-81de-4625-ae16-f189e0b7e529" providerId="ADAL" clId="{EFB976C6-EC52-4602-90C8-86B8954E5255}" dt="2023-03-30T15:24:35.882" v="23074" actId="478"/>
          <ac:spMkLst>
            <pc:docMk/>
            <pc:sldMk cId="1618349175" sldId="350"/>
            <ac:spMk id="192" creationId="{9277AA34-3A0A-0146-32A3-6F24C8073684}"/>
          </ac:spMkLst>
        </pc:spChg>
        <pc:spChg chg="mod">
          <ac:chgData name="Gasteiger, Cassidy M" userId="49e4247d-81de-4625-ae16-f189e0b7e529" providerId="ADAL" clId="{EFB976C6-EC52-4602-90C8-86B8954E5255}" dt="2023-03-29T16:51:37.615" v="11758" actId="1076"/>
          <ac:spMkLst>
            <pc:docMk/>
            <pc:sldMk cId="1618349175" sldId="350"/>
            <ac:spMk id="235" creationId="{00000000-0000-0000-0000-000000000000}"/>
          </ac:spMkLst>
        </pc:spChg>
        <pc:grpChg chg="add mod topLvl">
          <ac:chgData name="Gasteiger, Cassidy M" userId="49e4247d-81de-4625-ae16-f189e0b7e529" providerId="ADAL" clId="{EFB976C6-EC52-4602-90C8-86B8954E5255}" dt="2023-03-29T16:47:03.265" v="11438" actId="1076"/>
          <ac:grpSpMkLst>
            <pc:docMk/>
            <pc:sldMk cId="1618349175" sldId="350"/>
            <ac:grpSpMk id="2" creationId="{F79E3563-2275-46A8-2224-C378ACD53D85}"/>
          </ac:grpSpMkLst>
        </pc:grpChg>
        <pc:grpChg chg="add mod topLvl">
          <ac:chgData name="Gasteiger, Cassidy M" userId="49e4247d-81de-4625-ae16-f189e0b7e529" providerId="ADAL" clId="{EFB976C6-EC52-4602-90C8-86B8954E5255}" dt="2023-03-30T20:08:07.180" v="28616" actId="465"/>
          <ac:grpSpMkLst>
            <pc:docMk/>
            <pc:sldMk cId="1618349175" sldId="350"/>
            <ac:grpSpMk id="7" creationId="{1278603A-8FE9-395A-9E6A-2321BB6323BC}"/>
          </ac:grpSpMkLst>
        </pc:grpChg>
        <pc:grpChg chg="add mod topLvl">
          <ac:chgData name="Gasteiger, Cassidy M" userId="49e4247d-81de-4625-ae16-f189e0b7e529" providerId="ADAL" clId="{EFB976C6-EC52-4602-90C8-86B8954E5255}" dt="2023-03-30T20:08:07.180" v="28616" actId="465"/>
          <ac:grpSpMkLst>
            <pc:docMk/>
            <pc:sldMk cId="1618349175" sldId="350"/>
            <ac:grpSpMk id="12" creationId="{19A6494A-7151-7CB9-403F-A72DEDE43D04}"/>
          </ac:grpSpMkLst>
        </pc:grpChg>
        <pc:grpChg chg="add mod topLvl">
          <ac:chgData name="Gasteiger, Cassidy M" userId="49e4247d-81de-4625-ae16-f189e0b7e529" providerId="ADAL" clId="{EFB976C6-EC52-4602-90C8-86B8954E5255}" dt="2023-03-30T20:07:56.471" v="28615" actId="1036"/>
          <ac:grpSpMkLst>
            <pc:docMk/>
            <pc:sldMk cId="1618349175" sldId="350"/>
            <ac:grpSpMk id="17" creationId="{EA4E4DB6-DD3D-4A16-EE76-82A4874D4D3A}"/>
          </ac:grpSpMkLst>
        </pc:grpChg>
        <pc:grpChg chg="add del mod topLvl">
          <ac:chgData name="Gasteiger, Cassidy M" userId="49e4247d-81de-4625-ae16-f189e0b7e529" providerId="ADAL" clId="{EFB976C6-EC52-4602-90C8-86B8954E5255}" dt="2023-03-29T16:46:55.180" v="11437" actId="478"/>
          <ac:grpSpMkLst>
            <pc:docMk/>
            <pc:sldMk cId="1618349175" sldId="350"/>
            <ac:grpSpMk id="22" creationId="{A06B334D-C811-0236-AE72-601BF0CB3095}"/>
          </ac:grpSpMkLst>
        </pc:grpChg>
        <pc:grpChg chg="add del mod">
          <ac:chgData name="Gasteiger, Cassidy M" userId="49e4247d-81de-4625-ae16-f189e0b7e529" providerId="ADAL" clId="{EFB976C6-EC52-4602-90C8-86B8954E5255}" dt="2023-03-29T16:46:48.767" v="11435" actId="165"/>
          <ac:grpSpMkLst>
            <pc:docMk/>
            <pc:sldMk cId="1618349175" sldId="350"/>
            <ac:grpSpMk id="32" creationId="{6FE89CB0-84FB-54D3-023E-C9D9B7757DB7}"/>
          </ac:grpSpMkLst>
        </pc:grpChg>
        <pc:grpChg chg="del">
          <ac:chgData name="Gasteiger, Cassidy M" userId="49e4247d-81de-4625-ae16-f189e0b7e529" providerId="ADAL" clId="{EFB976C6-EC52-4602-90C8-86B8954E5255}" dt="2023-03-26T03:28:57.407" v="660" actId="478"/>
          <ac:grpSpMkLst>
            <pc:docMk/>
            <pc:sldMk cId="1618349175" sldId="350"/>
            <ac:grpSpMk id="33" creationId="{B334BA38-E8D0-C752-6804-0B3299173AD9}"/>
          </ac:grpSpMkLst>
        </pc:grpChg>
        <pc:grpChg chg="del">
          <ac:chgData name="Gasteiger, Cassidy M" userId="49e4247d-81de-4625-ae16-f189e0b7e529" providerId="ADAL" clId="{EFB976C6-EC52-4602-90C8-86B8954E5255}" dt="2023-03-26T03:28:57.407" v="660" actId="478"/>
          <ac:grpSpMkLst>
            <pc:docMk/>
            <pc:sldMk cId="1618349175" sldId="350"/>
            <ac:grpSpMk id="34" creationId="{42CBD2C5-CC24-9F29-9AC7-09554CC0AF2C}"/>
          </ac:grpSpMkLst>
        </pc:grpChg>
        <pc:grpChg chg="add del mod">
          <ac:chgData name="Gasteiger, Cassidy M" userId="49e4247d-81de-4625-ae16-f189e0b7e529" providerId="ADAL" clId="{EFB976C6-EC52-4602-90C8-86B8954E5255}" dt="2023-03-29T16:51:20.689" v="11753" actId="165"/>
          <ac:grpSpMkLst>
            <pc:docMk/>
            <pc:sldMk cId="1618349175" sldId="350"/>
            <ac:grpSpMk id="34" creationId="{F4D5D1C3-2BD0-B3D1-BCF0-1E4B49643917}"/>
          </ac:grpSpMkLst>
        </pc:grpChg>
        <pc:grpChg chg="del">
          <ac:chgData name="Gasteiger, Cassidy M" userId="49e4247d-81de-4625-ae16-f189e0b7e529" providerId="ADAL" clId="{EFB976C6-EC52-4602-90C8-86B8954E5255}" dt="2023-03-26T03:28:57.407" v="660" actId="478"/>
          <ac:grpSpMkLst>
            <pc:docMk/>
            <pc:sldMk cId="1618349175" sldId="350"/>
            <ac:grpSpMk id="35" creationId="{D7B32DAB-8793-48E2-705E-677D5592CF6F}"/>
          </ac:grpSpMkLst>
        </pc:grpChg>
        <pc:grpChg chg="del">
          <ac:chgData name="Gasteiger, Cassidy M" userId="49e4247d-81de-4625-ae16-f189e0b7e529" providerId="ADAL" clId="{EFB976C6-EC52-4602-90C8-86B8954E5255}" dt="2023-03-26T03:28:57.407" v="660" actId="478"/>
          <ac:grpSpMkLst>
            <pc:docMk/>
            <pc:sldMk cId="1618349175" sldId="350"/>
            <ac:grpSpMk id="36" creationId="{3FE654FF-7A3E-2888-4791-F7AD0292FDF5}"/>
          </ac:grpSpMkLst>
        </pc:grpChg>
        <pc:grpChg chg="add del mod">
          <ac:chgData name="Gasteiger, Cassidy M" userId="49e4247d-81de-4625-ae16-f189e0b7e529" providerId="ADAL" clId="{EFB976C6-EC52-4602-90C8-86B8954E5255}" dt="2023-03-29T16:51:47.712" v="11762" actId="165"/>
          <ac:grpSpMkLst>
            <pc:docMk/>
            <pc:sldMk cId="1618349175" sldId="350"/>
            <ac:grpSpMk id="41" creationId="{06A148A6-CAE3-3CAF-2FD7-24528E7620ED}"/>
          </ac:grpSpMkLst>
        </pc:grpChg>
        <pc:grpChg chg="add del mod">
          <ac:chgData name="Gasteiger, Cassidy M" userId="49e4247d-81de-4625-ae16-f189e0b7e529" providerId="ADAL" clId="{EFB976C6-EC52-4602-90C8-86B8954E5255}" dt="2023-03-30T15:18:50.621" v="22836"/>
          <ac:grpSpMkLst>
            <pc:docMk/>
            <pc:sldMk cId="1618349175" sldId="350"/>
            <ac:grpSpMk id="45" creationId="{EC9034BE-717C-A11E-56C5-38D00485BF75}"/>
          </ac:grpSpMkLst>
        </pc:grpChg>
        <pc:grpChg chg="add mod">
          <ac:chgData name="Gasteiger, Cassidy M" userId="49e4247d-81de-4625-ae16-f189e0b7e529" providerId="ADAL" clId="{EFB976C6-EC52-4602-90C8-86B8954E5255}" dt="2023-03-30T15:24:36.296" v="23075"/>
          <ac:grpSpMkLst>
            <pc:docMk/>
            <pc:sldMk cId="1618349175" sldId="350"/>
            <ac:grpSpMk id="51" creationId="{779FB5C6-1321-D0E7-1D1A-DA04F63FCC79}"/>
          </ac:grpSpMkLst>
        </pc:grpChg>
        <pc:picChg chg="add del mod">
          <ac:chgData name="Gasteiger, Cassidy M" userId="49e4247d-81de-4625-ae16-f189e0b7e529" providerId="ADAL" clId="{EFB976C6-EC52-4602-90C8-86B8954E5255}" dt="2023-03-26T03:11:58.421" v="605" actId="478"/>
          <ac:picMkLst>
            <pc:docMk/>
            <pc:sldMk cId="1618349175" sldId="350"/>
            <ac:picMk id="4" creationId="{A4844FA7-F2FE-4D3E-7041-894C937A3B37}"/>
          </ac:picMkLst>
        </pc:picChg>
        <pc:picChg chg="add del mod">
          <ac:chgData name="Gasteiger, Cassidy M" userId="49e4247d-81de-4625-ae16-f189e0b7e529" providerId="ADAL" clId="{EFB976C6-EC52-4602-90C8-86B8954E5255}" dt="2023-03-26T03:28:08.917" v="629" actId="478"/>
          <ac:picMkLst>
            <pc:docMk/>
            <pc:sldMk cId="1618349175" sldId="350"/>
            <ac:picMk id="7" creationId="{1563694B-B506-1D8E-F8D1-1B2935114451}"/>
          </ac:picMkLst>
        </pc:picChg>
        <pc:picChg chg="del">
          <ac:chgData name="Gasteiger, Cassidy M" userId="49e4247d-81de-4625-ae16-f189e0b7e529" providerId="ADAL" clId="{EFB976C6-EC52-4602-90C8-86B8954E5255}" dt="2023-03-26T03:10:17.123" v="593" actId="478"/>
          <ac:picMkLst>
            <pc:docMk/>
            <pc:sldMk cId="1618349175" sldId="350"/>
            <ac:picMk id="17" creationId="{46DB66AA-1AA7-3E4B-92F6-6E7E60C7CEE8}"/>
          </ac:picMkLst>
        </pc:picChg>
        <pc:picChg chg="add del mod">
          <ac:chgData name="Gasteiger, Cassidy M" userId="49e4247d-81de-4625-ae16-f189e0b7e529" providerId="ADAL" clId="{EFB976C6-EC52-4602-90C8-86B8954E5255}" dt="2023-03-30T15:15:16.356" v="22204" actId="478"/>
          <ac:picMkLst>
            <pc:docMk/>
            <pc:sldMk cId="1618349175" sldId="350"/>
            <ac:picMk id="23" creationId="{86320AF8-2307-A5D3-36C7-D9C638EDE859}"/>
          </ac:picMkLst>
        </pc:picChg>
        <pc:picChg chg="add del mod">
          <ac:chgData name="Gasteiger, Cassidy M" userId="49e4247d-81de-4625-ae16-f189e0b7e529" providerId="ADAL" clId="{EFB976C6-EC52-4602-90C8-86B8954E5255}" dt="2023-03-26T04:10:06.318" v="1514"/>
          <ac:picMkLst>
            <pc:docMk/>
            <pc:sldMk cId="1618349175" sldId="350"/>
            <ac:picMk id="43" creationId="{9E5BC865-2084-D4D2-2EA3-6C87814DD2B1}"/>
          </ac:picMkLst>
        </pc:picChg>
        <pc:picChg chg="add mod">
          <ac:chgData name="Gasteiger, Cassidy M" userId="49e4247d-81de-4625-ae16-f189e0b7e529" providerId="ADAL" clId="{EFB976C6-EC52-4602-90C8-86B8954E5255}" dt="2023-03-29T16:55:36.583" v="11785" actId="1076"/>
          <ac:picMkLst>
            <pc:docMk/>
            <pc:sldMk cId="1618349175" sldId="350"/>
            <ac:picMk id="44" creationId="{65D7CBAA-A145-547C-C046-2A9AE8279D1F}"/>
          </ac:picMkLst>
        </pc:picChg>
        <pc:picChg chg="add del mod">
          <ac:chgData name="Gasteiger, Cassidy M" userId="49e4247d-81de-4625-ae16-f189e0b7e529" providerId="ADAL" clId="{EFB976C6-EC52-4602-90C8-86B8954E5255}" dt="2023-03-26T04:09:56.307" v="1500"/>
          <ac:picMkLst>
            <pc:docMk/>
            <pc:sldMk cId="1618349175" sldId="350"/>
            <ac:picMk id="45" creationId="{309A0FD3-FB70-398B-3F55-76C04D934D6E}"/>
          </ac:picMkLst>
        </pc:picChg>
        <pc:picChg chg="add del mod">
          <ac:chgData name="Gasteiger, Cassidy M" userId="49e4247d-81de-4625-ae16-f189e0b7e529" providerId="ADAL" clId="{EFB976C6-EC52-4602-90C8-86B8954E5255}" dt="2023-03-26T04:10:03.382" v="1508"/>
          <ac:picMkLst>
            <pc:docMk/>
            <pc:sldMk cId="1618349175" sldId="350"/>
            <ac:picMk id="48" creationId="{FDFB9FEF-5C34-25B3-9E16-656B6DBDFB3D}"/>
          </ac:picMkLst>
        </pc:picChg>
        <pc:picChg chg="add del mod">
          <ac:chgData name="Gasteiger, Cassidy M" userId="49e4247d-81de-4625-ae16-f189e0b7e529" providerId="ADAL" clId="{EFB976C6-EC52-4602-90C8-86B8954E5255}" dt="2023-03-26T04:10:03.250" v="1507"/>
          <ac:picMkLst>
            <pc:docMk/>
            <pc:sldMk cId="1618349175" sldId="350"/>
            <ac:picMk id="51" creationId="{03773A46-8693-D86D-2A4C-B51DFFC09781}"/>
          </ac:picMkLst>
        </pc:picChg>
        <pc:picChg chg="add del mod">
          <ac:chgData name="Gasteiger, Cassidy M" userId="49e4247d-81de-4625-ae16-f189e0b7e529" providerId="ADAL" clId="{EFB976C6-EC52-4602-90C8-86B8954E5255}" dt="2023-03-26T04:10:03.234" v="1506"/>
          <ac:picMkLst>
            <pc:docMk/>
            <pc:sldMk cId="1618349175" sldId="350"/>
            <ac:picMk id="54" creationId="{B2AC0F90-A12F-7DEC-29BA-009B18D15308}"/>
          </ac:picMkLst>
        </pc:picChg>
        <pc:picChg chg="add del mod">
          <ac:chgData name="Gasteiger, Cassidy M" userId="49e4247d-81de-4625-ae16-f189e0b7e529" providerId="ADAL" clId="{EFB976C6-EC52-4602-90C8-86B8954E5255}" dt="2023-03-26T04:10:02.704" v="1505"/>
          <ac:picMkLst>
            <pc:docMk/>
            <pc:sldMk cId="1618349175" sldId="350"/>
            <ac:picMk id="60" creationId="{159CCBE8-9125-825D-EA7C-E8CB0B1F722F}"/>
          </ac:picMkLst>
        </pc:picChg>
        <pc:picChg chg="add del mod">
          <ac:chgData name="Gasteiger, Cassidy M" userId="49e4247d-81de-4625-ae16-f189e0b7e529" providerId="ADAL" clId="{EFB976C6-EC52-4602-90C8-86B8954E5255}" dt="2023-03-26T04:10:39.012" v="1552" actId="478"/>
          <ac:picMkLst>
            <pc:docMk/>
            <pc:sldMk cId="1618349175" sldId="350"/>
            <ac:picMk id="63" creationId="{A04F4218-76D5-071B-C395-88E7B9579396}"/>
          </ac:picMkLst>
        </pc:picChg>
      </pc:sldChg>
      <pc:sldChg chg="addSp delSp modSp add mod ord">
        <pc:chgData name="Gasteiger, Cassidy M" userId="49e4247d-81de-4625-ae16-f189e0b7e529" providerId="ADAL" clId="{EFB976C6-EC52-4602-90C8-86B8954E5255}" dt="2023-03-30T20:27:04.850" v="29804" actId="1037"/>
        <pc:sldMkLst>
          <pc:docMk/>
          <pc:sldMk cId="1926625910" sldId="351"/>
        </pc:sldMkLst>
        <pc:spChg chg="add mod ord">
          <ac:chgData name="Gasteiger, Cassidy M" userId="49e4247d-81de-4625-ae16-f189e0b7e529" providerId="ADAL" clId="{EFB976C6-EC52-4602-90C8-86B8954E5255}" dt="2023-03-29T18:21:41.955" v="12870" actId="1037"/>
          <ac:spMkLst>
            <pc:docMk/>
            <pc:sldMk cId="1926625910" sldId="351"/>
            <ac:spMk id="2" creationId="{D9F6A341-0A6E-4D27-0712-8E9CBC2A525A}"/>
          </ac:spMkLst>
        </pc:spChg>
        <pc:spChg chg="add del mod">
          <ac:chgData name="Gasteiger, Cassidy M" userId="49e4247d-81de-4625-ae16-f189e0b7e529" providerId="ADAL" clId="{EFB976C6-EC52-4602-90C8-86B8954E5255}" dt="2023-03-29T17:13:54.376" v="12139" actId="478"/>
          <ac:spMkLst>
            <pc:docMk/>
            <pc:sldMk cId="1926625910" sldId="351"/>
            <ac:spMk id="4" creationId="{F7FC29E7-7E23-82AC-A3E7-0D3A9B1256CA}"/>
          </ac:spMkLst>
        </pc:spChg>
        <pc:spChg chg="add mod">
          <ac:chgData name="Gasteiger, Cassidy M" userId="49e4247d-81de-4625-ae16-f189e0b7e529" providerId="ADAL" clId="{EFB976C6-EC52-4602-90C8-86B8954E5255}" dt="2023-03-29T18:21:41.955" v="12870" actId="1037"/>
          <ac:spMkLst>
            <pc:docMk/>
            <pc:sldMk cId="1926625910" sldId="351"/>
            <ac:spMk id="5" creationId="{34EC5F73-B854-5044-3D79-81D0E647DA9E}"/>
          </ac:spMkLst>
        </pc:spChg>
        <pc:spChg chg="add del mod">
          <ac:chgData name="Gasteiger, Cassidy M" userId="49e4247d-81de-4625-ae16-f189e0b7e529" providerId="ADAL" clId="{EFB976C6-EC52-4602-90C8-86B8954E5255}" dt="2023-03-26T04:09:49.419" v="1497"/>
          <ac:spMkLst>
            <pc:docMk/>
            <pc:sldMk cId="1926625910" sldId="351"/>
            <ac:spMk id="6" creationId="{54973232-0E14-56FC-3384-C123007E57B1}"/>
          </ac:spMkLst>
        </pc:spChg>
        <pc:spChg chg="add del mod">
          <ac:chgData name="Gasteiger, Cassidy M" userId="49e4247d-81de-4625-ae16-f189e0b7e529" providerId="ADAL" clId="{EFB976C6-EC52-4602-90C8-86B8954E5255}" dt="2023-03-26T04:09:49.419" v="1497"/>
          <ac:spMkLst>
            <pc:docMk/>
            <pc:sldMk cId="1926625910" sldId="351"/>
            <ac:spMk id="7" creationId="{1310945B-F358-4EDE-3BAB-2FED3D17C744}"/>
          </ac:spMkLst>
        </pc:spChg>
        <pc:spChg chg="mod">
          <ac:chgData name="Gasteiger, Cassidy M" userId="49e4247d-81de-4625-ae16-f189e0b7e529" providerId="ADAL" clId="{EFB976C6-EC52-4602-90C8-86B8954E5255}" dt="2023-03-29T18:21:41.955" v="12870" actId="1037"/>
          <ac:spMkLst>
            <pc:docMk/>
            <pc:sldMk cId="1926625910" sldId="351"/>
            <ac:spMk id="8" creationId="{8D132AAA-4260-0BC9-765C-2EFFD0439CE6}"/>
          </ac:spMkLst>
        </pc:spChg>
        <pc:spChg chg="add del mod">
          <ac:chgData name="Gasteiger, Cassidy M" userId="49e4247d-81de-4625-ae16-f189e0b7e529" providerId="ADAL" clId="{EFB976C6-EC52-4602-90C8-86B8954E5255}" dt="2023-03-30T15:24:57.178" v="23092" actId="478"/>
          <ac:spMkLst>
            <pc:docMk/>
            <pc:sldMk cId="1926625910" sldId="351"/>
            <ac:spMk id="9" creationId="{7D2C8142-9DA2-7AD9-5F15-42A5118B111A}"/>
          </ac:spMkLst>
        </pc:spChg>
        <pc:spChg chg="add del mod">
          <ac:chgData name="Gasteiger, Cassidy M" userId="49e4247d-81de-4625-ae16-f189e0b7e529" providerId="ADAL" clId="{EFB976C6-EC52-4602-90C8-86B8954E5255}" dt="2023-03-26T04:11:47.230" v="1614" actId="478"/>
          <ac:spMkLst>
            <pc:docMk/>
            <pc:sldMk cId="1926625910" sldId="351"/>
            <ac:spMk id="10" creationId="{6FA00477-F69A-C8F9-549F-F835544D3C42}"/>
          </ac:spMkLst>
        </pc:spChg>
        <pc:spChg chg="mod">
          <ac:chgData name="Gasteiger, Cassidy M" userId="49e4247d-81de-4625-ae16-f189e0b7e529" providerId="ADAL" clId="{EFB976C6-EC52-4602-90C8-86B8954E5255}" dt="2023-03-29T18:21:41.955" v="12870" actId="1037"/>
          <ac:spMkLst>
            <pc:docMk/>
            <pc:sldMk cId="1926625910" sldId="351"/>
            <ac:spMk id="11" creationId="{FCB86F39-2FA9-0844-3149-DCC9E5BCA7AD}"/>
          </ac:spMkLst>
        </pc:spChg>
        <pc:spChg chg="add mod">
          <ac:chgData name="Gasteiger, Cassidy M" userId="49e4247d-81de-4625-ae16-f189e0b7e529" providerId="ADAL" clId="{EFB976C6-EC52-4602-90C8-86B8954E5255}" dt="2023-03-26T04:11:35.753" v="1608" actId="1076"/>
          <ac:spMkLst>
            <pc:docMk/>
            <pc:sldMk cId="1926625910" sldId="351"/>
            <ac:spMk id="12" creationId="{E80E6CAC-B5AD-3F0B-5B47-AE36B1F4214F}"/>
          </ac:spMkLst>
        </pc:spChg>
        <pc:spChg chg="mod">
          <ac:chgData name="Gasteiger, Cassidy M" userId="49e4247d-81de-4625-ae16-f189e0b7e529" providerId="ADAL" clId="{EFB976C6-EC52-4602-90C8-86B8954E5255}" dt="2023-03-29T18:21:41.955" v="12870" actId="1037"/>
          <ac:spMkLst>
            <pc:docMk/>
            <pc:sldMk cId="1926625910" sldId="351"/>
            <ac:spMk id="14" creationId="{D96AC95D-17D1-2873-A24F-E6A4573D7D2C}"/>
          </ac:spMkLst>
        </pc:spChg>
        <pc:spChg chg="mod">
          <ac:chgData name="Gasteiger, Cassidy M" userId="49e4247d-81de-4625-ae16-f189e0b7e529" providerId="ADAL" clId="{EFB976C6-EC52-4602-90C8-86B8954E5255}" dt="2023-03-29T18:21:41.955" v="12870" actId="1037"/>
          <ac:spMkLst>
            <pc:docMk/>
            <pc:sldMk cId="1926625910" sldId="351"/>
            <ac:spMk id="15" creationId="{473400AB-7C5C-9ECB-637C-A55A598EF7B5}"/>
          </ac:spMkLst>
        </pc:spChg>
        <pc:spChg chg="mod topLvl">
          <ac:chgData name="Gasteiger, Cassidy M" userId="49e4247d-81de-4625-ae16-f189e0b7e529" providerId="ADAL" clId="{EFB976C6-EC52-4602-90C8-86B8954E5255}" dt="2023-03-29T18:21:36.609" v="12862" actId="1038"/>
          <ac:spMkLst>
            <pc:docMk/>
            <pc:sldMk cId="1926625910" sldId="351"/>
            <ac:spMk id="18" creationId="{0C6AA73D-4443-E95C-5BFB-2C5D73C2133C}"/>
          </ac:spMkLst>
        </pc:spChg>
        <pc:spChg chg="mod topLvl">
          <ac:chgData name="Gasteiger, Cassidy M" userId="49e4247d-81de-4625-ae16-f189e0b7e529" providerId="ADAL" clId="{EFB976C6-EC52-4602-90C8-86B8954E5255}" dt="2023-03-29T18:21:36.609" v="12862" actId="1038"/>
          <ac:spMkLst>
            <pc:docMk/>
            <pc:sldMk cId="1926625910" sldId="351"/>
            <ac:spMk id="19" creationId="{AFC8313E-FA50-3437-C832-AA978094CE99}"/>
          </ac:spMkLst>
        </pc:spChg>
        <pc:spChg chg="add del mod">
          <ac:chgData name="Gasteiger, Cassidy M" userId="49e4247d-81de-4625-ae16-f189e0b7e529" providerId="ADAL" clId="{EFB976C6-EC52-4602-90C8-86B8954E5255}" dt="2023-03-26T04:11:47.230" v="1614" actId="478"/>
          <ac:spMkLst>
            <pc:docMk/>
            <pc:sldMk cId="1926625910" sldId="351"/>
            <ac:spMk id="19" creationId="{E5719359-46B7-858C-AE1B-5AB175721B75}"/>
          </ac:spMkLst>
        </pc:spChg>
        <pc:spChg chg="mod">
          <ac:chgData name="Gasteiger, Cassidy M" userId="49e4247d-81de-4625-ae16-f189e0b7e529" providerId="ADAL" clId="{EFB976C6-EC52-4602-90C8-86B8954E5255}" dt="2023-03-29T17:07:48.066" v="11988"/>
          <ac:spMkLst>
            <pc:docMk/>
            <pc:sldMk cId="1926625910" sldId="351"/>
            <ac:spMk id="22" creationId="{D55DA94D-F588-CFE4-86C3-9C3900B5E8AC}"/>
          </ac:spMkLst>
        </pc:spChg>
        <pc:spChg chg="mod">
          <ac:chgData name="Gasteiger, Cassidy M" userId="49e4247d-81de-4625-ae16-f189e0b7e529" providerId="ADAL" clId="{EFB976C6-EC52-4602-90C8-86B8954E5255}" dt="2023-03-29T17:07:48.066" v="11988"/>
          <ac:spMkLst>
            <pc:docMk/>
            <pc:sldMk cId="1926625910" sldId="351"/>
            <ac:spMk id="23" creationId="{00D274C1-C055-E47C-53A8-108461E35A97}"/>
          </ac:spMkLst>
        </pc:spChg>
        <pc:spChg chg="del">
          <ac:chgData name="Gasteiger, Cassidy M" userId="49e4247d-81de-4625-ae16-f189e0b7e529" providerId="ADAL" clId="{EFB976C6-EC52-4602-90C8-86B8954E5255}" dt="2023-03-26T03:56:56.085" v="925" actId="478"/>
          <ac:spMkLst>
            <pc:docMk/>
            <pc:sldMk cId="1926625910" sldId="351"/>
            <ac:spMk id="25" creationId="{3EC949C9-BF76-7FD4-C26E-4C88C077BA81}"/>
          </ac:spMkLst>
        </pc:spChg>
        <pc:spChg chg="add mod">
          <ac:chgData name="Gasteiger, Cassidy M" userId="49e4247d-81de-4625-ae16-f189e0b7e529" providerId="ADAL" clId="{EFB976C6-EC52-4602-90C8-86B8954E5255}" dt="2023-03-29T18:21:36.609" v="12862" actId="1038"/>
          <ac:spMkLst>
            <pc:docMk/>
            <pc:sldMk cId="1926625910" sldId="351"/>
            <ac:spMk id="25" creationId="{DE75BE5B-ED05-0E9F-C668-A42C6414A056}"/>
          </ac:spMkLst>
        </pc:spChg>
        <pc:spChg chg="add mod">
          <ac:chgData name="Gasteiger, Cassidy M" userId="49e4247d-81de-4625-ae16-f189e0b7e529" providerId="ADAL" clId="{EFB976C6-EC52-4602-90C8-86B8954E5255}" dt="2023-03-29T18:21:36.609" v="12862" actId="1038"/>
          <ac:spMkLst>
            <pc:docMk/>
            <pc:sldMk cId="1926625910" sldId="351"/>
            <ac:spMk id="26" creationId="{F4E36165-C636-ECCF-3DB8-D571663621AC}"/>
          </ac:spMkLst>
        </pc:spChg>
        <pc:spChg chg="add mod">
          <ac:chgData name="Gasteiger, Cassidy M" userId="49e4247d-81de-4625-ae16-f189e0b7e529" providerId="ADAL" clId="{EFB976C6-EC52-4602-90C8-86B8954E5255}" dt="2023-03-29T18:21:36.609" v="12862" actId="1038"/>
          <ac:spMkLst>
            <pc:docMk/>
            <pc:sldMk cId="1926625910" sldId="351"/>
            <ac:spMk id="27" creationId="{3F575911-6B5B-DFFA-C6A5-897F5A0D3AA2}"/>
          </ac:spMkLst>
        </pc:spChg>
        <pc:spChg chg="del">
          <ac:chgData name="Gasteiger, Cassidy M" userId="49e4247d-81de-4625-ae16-f189e0b7e529" providerId="ADAL" clId="{EFB976C6-EC52-4602-90C8-86B8954E5255}" dt="2023-03-26T03:56:57.564" v="926" actId="478"/>
          <ac:spMkLst>
            <pc:docMk/>
            <pc:sldMk cId="1926625910" sldId="351"/>
            <ac:spMk id="27" creationId="{44CC9F42-57EC-D591-AE94-9296AC086732}"/>
          </ac:spMkLst>
        </pc:spChg>
        <pc:spChg chg="add mod">
          <ac:chgData name="Gasteiger, Cassidy M" userId="49e4247d-81de-4625-ae16-f189e0b7e529" providerId="ADAL" clId="{EFB976C6-EC52-4602-90C8-86B8954E5255}" dt="2023-03-29T18:21:36.609" v="12862" actId="1038"/>
          <ac:spMkLst>
            <pc:docMk/>
            <pc:sldMk cId="1926625910" sldId="351"/>
            <ac:spMk id="28" creationId="{ED3489A0-6AF9-FB0B-25EE-22A3756C38B9}"/>
          </ac:spMkLst>
        </pc:spChg>
        <pc:spChg chg="del">
          <ac:chgData name="Gasteiger, Cassidy M" userId="49e4247d-81de-4625-ae16-f189e0b7e529" providerId="ADAL" clId="{EFB976C6-EC52-4602-90C8-86B8954E5255}" dt="2023-03-26T03:57:01.673" v="927" actId="478"/>
          <ac:spMkLst>
            <pc:docMk/>
            <pc:sldMk cId="1926625910" sldId="351"/>
            <ac:spMk id="29" creationId="{1CE8128D-363D-5BEC-378C-E8879F7BCC5E}"/>
          </ac:spMkLst>
        </pc:spChg>
        <pc:spChg chg="add mod ord">
          <ac:chgData name="Gasteiger, Cassidy M" userId="49e4247d-81de-4625-ae16-f189e0b7e529" providerId="ADAL" clId="{EFB976C6-EC52-4602-90C8-86B8954E5255}" dt="2023-03-29T18:21:41.955" v="12870" actId="1037"/>
          <ac:spMkLst>
            <pc:docMk/>
            <pc:sldMk cId="1926625910" sldId="351"/>
            <ac:spMk id="29" creationId="{96BBA15D-8C7B-679D-FA23-301A52AB2150}"/>
          </ac:spMkLst>
        </pc:spChg>
        <pc:spChg chg="add mod">
          <ac:chgData name="Gasteiger, Cassidy M" userId="49e4247d-81de-4625-ae16-f189e0b7e529" providerId="ADAL" clId="{EFB976C6-EC52-4602-90C8-86B8954E5255}" dt="2023-03-29T18:21:41.955" v="12870" actId="1037"/>
          <ac:spMkLst>
            <pc:docMk/>
            <pc:sldMk cId="1926625910" sldId="351"/>
            <ac:spMk id="30" creationId="{6BFC129C-3F26-69AD-14A3-C76FE7B9B82F}"/>
          </ac:spMkLst>
        </pc:spChg>
        <pc:spChg chg="add mod">
          <ac:chgData name="Gasteiger, Cassidy M" userId="49e4247d-81de-4625-ae16-f189e0b7e529" providerId="ADAL" clId="{EFB976C6-EC52-4602-90C8-86B8954E5255}" dt="2023-03-29T18:21:36.609" v="12862" actId="1038"/>
          <ac:spMkLst>
            <pc:docMk/>
            <pc:sldMk cId="1926625910" sldId="351"/>
            <ac:spMk id="31" creationId="{AC826345-35CD-8BC2-8619-5DB844BB0419}"/>
          </ac:spMkLst>
        </pc:spChg>
        <pc:spChg chg="del">
          <ac:chgData name="Gasteiger, Cassidy M" userId="49e4247d-81de-4625-ae16-f189e0b7e529" providerId="ADAL" clId="{EFB976C6-EC52-4602-90C8-86B8954E5255}" dt="2023-03-26T03:57:01.673" v="927" actId="478"/>
          <ac:spMkLst>
            <pc:docMk/>
            <pc:sldMk cId="1926625910" sldId="351"/>
            <ac:spMk id="31" creationId="{BAA5DB24-BF69-7CB9-7D16-29BFE4DA9A88}"/>
          </ac:spMkLst>
        </pc:spChg>
        <pc:spChg chg="add mod">
          <ac:chgData name="Gasteiger, Cassidy M" userId="49e4247d-81de-4625-ae16-f189e0b7e529" providerId="ADAL" clId="{EFB976C6-EC52-4602-90C8-86B8954E5255}" dt="2023-03-29T18:21:36.609" v="12862" actId="1038"/>
          <ac:spMkLst>
            <pc:docMk/>
            <pc:sldMk cId="1926625910" sldId="351"/>
            <ac:spMk id="32" creationId="{42AEDD8E-8F6C-B959-633C-E3CEF6A70D07}"/>
          </ac:spMkLst>
        </pc:spChg>
        <pc:spChg chg="add mod">
          <ac:chgData name="Gasteiger, Cassidy M" userId="49e4247d-81de-4625-ae16-f189e0b7e529" providerId="ADAL" clId="{EFB976C6-EC52-4602-90C8-86B8954E5255}" dt="2023-03-29T18:21:36.609" v="12862" actId="1038"/>
          <ac:spMkLst>
            <pc:docMk/>
            <pc:sldMk cId="1926625910" sldId="351"/>
            <ac:spMk id="33" creationId="{8C63D062-FD59-A41C-B3E5-96C4597F06F4}"/>
          </ac:spMkLst>
        </pc:spChg>
        <pc:spChg chg="mod">
          <ac:chgData name="Gasteiger, Cassidy M" userId="49e4247d-81de-4625-ae16-f189e0b7e529" providerId="ADAL" clId="{EFB976C6-EC52-4602-90C8-86B8954E5255}" dt="2023-03-29T18:21:41.955" v="12870" actId="1037"/>
          <ac:spMkLst>
            <pc:docMk/>
            <pc:sldMk cId="1926625910" sldId="351"/>
            <ac:spMk id="35" creationId="{76E73A90-9507-BB6F-7825-DC986B55C5B9}"/>
          </ac:spMkLst>
        </pc:spChg>
        <pc:spChg chg="mod">
          <ac:chgData name="Gasteiger, Cassidy M" userId="49e4247d-81de-4625-ae16-f189e0b7e529" providerId="ADAL" clId="{EFB976C6-EC52-4602-90C8-86B8954E5255}" dt="2023-03-29T18:21:41.955" v="12870" actId="1037"/>
          <ac:spMkLst>
            <pc:docMk/>
            <pc:sldMk cId="1926625910" sldId="351"/>
            <ac:spMk id="36" creationId="{E20D161E-0D1F-198C-645A-597A49E4F7C8}"/>
          </ac:spMkLst>
        </pc:spChg>
        <pc:spChg chg="add mod">
          <ac:chgData name="Gasteiger, Cassidy M" userId="49e4247d-81de-4625-ae16-f189e0b7e529" providerId="ADAL" clId="{EFB976C6-EC52-4602-90C8-86B8954E5255}" dt="2023-03-29T18:21:41.955" v="12870" actId="1037"/>
          <ac:spMkLst>
            <pc:docMk/>
            <pc:sldMk cId="1926625910" sldId="351"/>
            <ac:spMk id="37" creationId="{4E3ABC10-D98C-F7F7-E01F-344073D89584}"/>
          </ac:spMkLst>
        </pc:spChg>
        <pc:spChg chg="del">
          <ac:chgData name="Gasteiger, Cassidy M" userId="49e4247d-81de-4625-ae16-f189e0b7e529" providerId="ADAL" clId="{EFB976C6-EC52-4602-90C8-86B8954E5255}" dt="2023-03-26T03:57:01.673" v="927" actId="478"/>
          <ac:spMkLst>
            <pc:docMk/>
            <pc:sldMk cId="1926625910" sldId="351"/>
            <ac:spMk id="39" creationId="{154FB532-68F4-8935-A022-AD87F60F013C}"/>
          </ac:spMkLst>
        </pc:spChg>
        <pc:spChg chg="add mod">
          <ac:chgData name="Gasteiger, Cassidy M" userId="49e4247d-81de-4625-ae16-f189e0b7e529" providerId="ADAL" clId="{EFB976C6-EC52-4602-90C8-86B8954E5255}" dt="2023-03-29T18:21:36.609" v="12862" actId="1038"/>
          <ac:spMkLst>
            <pc:docMk/>
            <pc:sldMk cId="1926625910" sldId="351"/>
            <ac:spMk id="39" creationId="{5E2010D6-D25A-3E96-889E-2C8357C9259F}"/>
          </ac:spMkLst>
        </pc:spChg>
        <pc:spChg chg="add mod">
          <ac:chgData name="Gasteiger, Cassidy M" userId="49e4247d-81de-4625-ae16-f189e0b7e529" providerId="ADAL" clId="{EFB976C6-EC52-4602-90C8-86B8954E5255}" dt="2023-03-29T18:21:36.609" v="12862" actId="1038"/>
          <ac:spMkLst>
            <pc:docMk/>
            <pc:sldMk cId="1926625910" sldId="351"/>
            <ac:spMk id="40" creationId="{2819C02C-EF29-D8E0-9397-C139FE8AD1DD}"/>
          </ac:spMkLst>
        </pc:spChg>
        <pc:spChg chg="del">
          <ac:chgData name="Gasteiger, Cassidy M" userId="49e4247d-81de-4625-ae16-f189e0b7e529" providerId="ADAL" clId="{EFB976C6-EC52-4602-90C8-86B8954E5255}" dt="2023-03-26T03:57:01.673" v="927" actId="478"/>
          <ac:spMkLst>
            <pc:docMk/>
            <pc:sldMk cId="1926625910" sldId="351"/>
            <ac:spMk id="40" creationId="{40DB4714-B184-97CA-B8CD-86F1AA0B1DDC}"/>
          </ac:spMkLst>
        </pc:spChg>
        <pc:spChg chg="add mod">
          <ac:chgData name="Gasteiger, Cassidy M" userId="49e4247d-81de-4625-ae16-f189e0b7e529" providerId="ADAL" clId="{EFB976C6-EC52-4602-90C8-86B8954E5255}" dt="2023-03-29T18:21:36.609" v="12862" actId="1038"/>
          <ac:spMkLst>
            <pc:docMk/>
            <pc:sldMk cId="1926625910" sldId="351"/>
            <ac:spMk id="41" creationId="{F0C629B5-394E-23E0-C52D-24DA9C967EB6}"/>
          </ac:spMkLst>
        </pc:spChg>
        <pc:spChg chg="add mod">
          <ac:chgData name="Gasteiger, Cassidy M" userId="49e4247d-81de-4625-ae16-f189e0b7e529" providerId="ADAL" clId="{EFB976C6-EC52-4602-90C8-86B8954E5255}" dt="2023-03-29T18:22:24.179" v="12888" actId="164"/>
          <ac:spMkLst>
            <pc:docMk/>
            <pc:sldMk cId="1926625910" sldId="351"/>
            <ac:spMk id="50" creationId="{92F0C9B1-474C-7FA9-CB7D-D8A0226FF060}"/>
          </ac:spMkLst>
        </pc:spChg>
        <pc:spChg chg="add mod">
          <ac:chgData name="Gasteiger, Cassidy M" userId="49e4247d-81de-4625-ae16-f189e0b7e529" providerId="ADAL" clId="{EFB976C6-EC52-4602-90C8-86B8954E5255}" dt="2023-03-30T20:27:04.850" v="29804" actId="1037"/>
          <ac:spMkLst>
            <pc:docMk/>
            <pc:sldMk cId="1926625910" sldId="351"/>
            <ac:spMk id="51" creationId="{2946EB4A-B07E-EE37-0278-92CD73DE25EE}"/>
          </ac:spMkLst>
        </pc:spChg>
        <pc:spChg chg="mod">
          <ac:chgData name="Gasteiger, Cassidy M" userId="49e4247d-81de-4625-ae16-f189e0b7e529" providerId="ADAL" clId="{EFB976C6-EC52-4602-90C8-86B8954E5255}" dt="2023-03-30T15:24:59.650" v="23097" actId="20577"/>
          <ac:spMkLst>
            <pc:docMk/>
            <pc:sldMk cId="1926625910" sldId="351"/>
            <ac:spMk id="207" creationId="{76BB21D7-FD25-7E73-7A0D-8FD0063F524C}"/>
          </ac:spMkLst>
        </pc:spChg>
        <pc:spChg chg="mod">
          <ac:chgData name="Gasteiger, Cassidy M" userId="49e4247d-81de-4625-ae16-f189e0b7e529" providerId="ADAL" clId="{EFB976C6-EC52-4602-90C8-86B8954E5255}" dt="2023-03-30T15:24:57.670" v="23093"/>
          <ac:spMkLst>
            <pc:docMk/>
            <pc:sldMk cId="1926625910" sldId="351"/>
            <ac:spMk id="208" creationId="{5901D69E-C76D-1D54-604D-EF037A54A047}"/>
          </ac:spMkLst>
        </pc:spChg>
        <pc:spChg chg="mod">
          <ac:chgData name="Gasteiger, Cassidy M" userId="49e4247d-81de-4625-ae16-f189e0b7e529" providerId="ADAL" clId="{EFB976C6-EC52-4602-90C8-86B8954E5255}" dt="2023-03-26T03:55:58.202" v="901" actId="20577"/>
          <ac:spMkLst>
            <pc:docMk/>
            <pc:sldMk cId="1926625910" sldId="351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29T18:21:41.955" v="12870" actId="1037"/>
          <ac:grpSpMkLst>
            <pc:docMk/>
            <pc:sldMk cId="1926625910" sldId="351"/>
            <ac:grpSpMk id="6" creationId="{EBCD34C2-E2BC-7504-512A-06A77389523F}"/>
          </ac:grpSpMkLst>
        </pc:grpChg>
        <pc:grpChg chg="add mod">
          <ac:chgData name="Gasteiger, Cassidy M" userId="49e4247d-81de-4625-ae16-f189e0b7e529" providerId="ADAL" clId="{EFB976C6-EC52-4602-90C8-86B8954E5255}" dt="2023-03-29T18:21:41.955" v="12870" actId="1037"/>
          <ac:grpSpMkLst>
            <pc:docMk/>
            <pc:sldMk cId="1926625910" sldId="351"/>
            <ac:grpSpMk id="7" creationId="{C8EB50E0-ECC4-B39E-7E96-853F107C102A}"/>
          </ac:grpSpMkLst>
        </pc:grpChg>
        <pc:grpChg chg="add mod">
          <ac:chgData name="Gasteiger, Cassidy M" userId="49e4247d-81de-4625-ae16-f189e0b7e529" providerId="ADAL" clId="{EFB976C6-EC52-4602-90C8-86B8954E5255}" dt="2023-03-29T18:21:41.955" v="12870" actId="1037"/>
          <ac:grpSpMkLst>
            <pc:docMk/>
            <pc:sldMk cId="1926625910" sldId="351"/>
            <ac:grpSpMk id="13" creationId="{0D3706D6-2787-94CB-C05C-0EE0E2FFDB93}"/>
          </ac:grpSpMkLst>
        </pc:grpChg>
        <pc:grpChg chg="add del mod">
          <ac:chgData name="Gasteiger, Cassidy M" userId="49e4247d-81de-4625-ae16-f189e0b7e529" providerId="ADAL" clId="{EFB976C6-EC52-4602-90C8-86B8954E5255}" dt="2023-03-29T17:13:00.033" v="12003" actId="165"/>
          <ac:grpSpMkLst>
            <pc:docMk/>
            <pc:sldMk cId="1926625910" sldId="351"/>
            <ac:grpSpMk id="17" creationId="{A45B9D96-BAF7-A223-F1A8-A35A5A8D0A3B}"/>
          </ac:grpSpMkLst>
        </pc:grpChg>
        <pc:grpChg chg="add del mod">
          <ac:chgData name="Gasteiger, Cassidy M" userId="49e4247d-81de-4625-ae16-f189e0b7e529" providerId="ADAL" clId="{EFB976C6-EC52-4602-90C8-86B8954E5255}" dt="2023-03-29T17:07:57.784" v="11993" actId="478"/>
          <ac:grpSpMkLst>
            <pc:docMk/>
            <pc:sldMk cId="1926625910" sldId="351"/>
            <ac:grpSpMk id="21" creationId="{5112169D-99FC-8E32-C922-093F595E592A}"/>
          </ac:grpSpMkLst>
        </pc:grpChg>
        <pc:grpChg chg="add mod">
          <ac:chgData name="Gasteiger, Cassidy M" userId="49e4247d-81de-4625-ae16-f189e0b7e529" providerId="ADAL" clId="{EFB976C6-EC52-4602-90C8-86B8954E5255}" dt="2023-03-29T18:21:41.955" v="12870" actId="1037"/>
          <ac:grpSpMkLst>
            <pc:docMk/>
            <pc:sldMk cId="1926625910" sldId="351"/>
            <ac:grpSpMk id="34" creationId="{C4DD7DDF-9B6C-2DE7-D097-C3BA02A61593}"/>
          </ac:grpSpMkLst>
        </pc:grpChg>
        <pc:grpChg chg="add mod">
          <ac:chgData name="Gasteiger, Cassidy M" userId="49e4247d-81de-4625-ae16-f189e0b7e529" providerId="ADAL" clId="{EFB976C6-EC52-4602-90C8-86B8954E5255}" dt="2023-03-29T18:21:41.955" v="12870" actId="1037"/>
          <ac:grpSpMkLst>
            <pc:docMk/>
            <pc:sldMk cId="1926625910" sldId="351"/>
            <ac:grpSpMk id="43" creationId="{37A0C85A-69AD-03FB-1DF3-CE3339C9264F}"/>
          </ac:grpSpMkLst>
        </pc:grpChg>
        <pc:grpChg chg="add mod">
          <ac:chgData name="Gasteiger, Cassidy M" userId="49e4247d-81de-4625-ae16-f189e0b7e529" providerId="ADAL" clId="{EFB976C6-EC52-4602-90C8-86B8954E5255}" dt="2023-03-29T18:21:41.955" v="12870" actId="1037"/>
          <ac:grpSpMkLst>
            <pc:docMk/>
            <pc:sldMk cId="1926625910" sldId="351"/>
            <ac:grpSpMk id="44" creationId="{C133CB7E-74D4-C22A-550F-F4A454006422}"/>
          </ac:grpSpMkLst>
        </pc:grpChg>
        <pc:grpChg chg="add mod">
          <ac:chgData name="Gasteiger, Cassidy M" userId="49e4247d-81de-4625-ae16-f189e0b7e529" providerId="ADAL" clId="{EFB976C6-EC52-4602-90C8-86B8954E5255}" dt="2023-03-29T18:21:41.955" v="12870" actId="1037"/>
          <ac:grpSpMkLst>
            <pc:docMk/>
            <pc:sldMk cId="1926625910" sldId="351"/>
            <ac:grpSpMk id="45" creationId="{DB0658D0-23FA-B4CE-4739-34F84B6A5C7F}"/>
          </ac:grpSpMkLst>
        </pc:grpChg>
        <pc:grpChg chg="add mod">
          <ac:chgData name="Gasteiger, Cassidy M" userId="49e4247d-81de-4625-ae16-f189e0b7e529" providerId="ADAL" clId="{EFB976C6-EC52-4602-90C8-86B8954E5255}" dt="2023-03-29T18:21:36.609" v="12862" actId="1038"/>
          <ac:grpSpMkLst>
            <pc:docMk/>
            <pc:sldMk cId="1926625910" sldId="351"/>
            <ac:grpSpMk id="46" creationId="{0ED9FFE6-6634-9FFC-C86E-50606723F3E8}"/>
          </ac:grpSpMkLst>
        </pc:grpChg>
        <pc:grpChg chg="add mod">
          <ac:chgData name="Gasteiger, Cassidy M" userId="49e4247d-81de-4625-ae16-f189e0b7e529" providerId="ADAL" clId="{EFB976C6-EC52-4602-90C8-86B8954E5255}" dt="2023-03-29T18:21:36.609" v="12862" actId="1038"/>
          <ac:grpSpMkLst>
            <pc:docMk/>
            <pc:sldMk cId="1926625910" sldId="351"/>
            <ac:grpSpMk id="47" creationId="{B7C4F597-4A75-AB7F-E9B1-0D199C3E5BA3}"/>
          </ac:grpSpMkLst>
        </pc:grpChg>
        <pc:grpChg chg="add mod">
          <ac:chgData name="Gasteiger, Cassidy M" userId="49e4247d-81de-4625-ae16-f189e0b7e529" providerId="ADAL" clId="{EFB976C6-EC52-4602-90C8-86B8954E5255}" dt="2023-03-29T18:21:36.609" v="12862" actId="1038"/>
          <ac:grpSpMkLst>
            <pc:docMk/>
            <pc:sldMk cId="1926625910" sldId="351"/>
            <ac:grpSpMk id="48" creationId="{FB601199-17BC-AB9A-FC73-AE38A503E55C}"/>
          </ac:grpSpMkLst>
        </pc:grpChg>
        <pc:grpChg chg="add mod">
          <ac:chgData name="Gasteiger, Cassidy M" userId="49e4247d-81de-4625-ae16-f189e0b7e529" providerId="ADAL" clId="{EFB976C6-EC52-4602-90C8-86B8954E5255}" dt="2023-03-29T18:21:36.609" v="12862" actId="1038"/>
          <ac:grpSpMkLst>
            <pc:docMk/>
            <pc:sldMk cId="1926625910" sldId="351"/>
            <ac:grpSpMk id="49" creationId="{774261E6-3B4D-DC34-C4B7-BDC44D7F53FB}"/>
          </ac:grpSpMkLst>
        </pc:grpChg>
        <pc:grpChg chg="add mod">
          <ac:chgData name="Gasteiger, Cassidy M" userId="49e4247d-81de-4625-ae16-f189e0b7e529" providerId="ADAL" clId="{EFB976C6-EC52-4602-90C8-86B8954E5255}" dt="2023-03-29T18:21:41.955" v="12870" actId="1037"/>
          <ac:grpSpMkLst>
            <pc:docMk/>
            <pc:sldMk cId="1926625910" sldId="351"/>
            <ac:grpSpMk id="193" creationId="{CE26EDA9-831C-7CF1-1830-16E10A63AEB9}"/>
          </ac:grpSpMkLst>
        </pc:grpChg>
        <pc:grpChg chg="add mod">
          <ac:chgData name="Gasteiger, Cassidy M" userId="49e4247d-81de-4625-ae16-f189e0b7e529" providerId="ADAL" clId="{EFB976C6-EC52-4602-90C8-86B8954E5255}" dt="2023-03-29T18:21:36.609" v="12862" actId="1038"/>
          <ac:grpSpMkLst>
            <pc:docMk/>
            <pc:sldMk cId="1926625910" sldId="351"/>
            <ac:grpSpMk id="195" creationId="{82A4B30B-8104-26C6-F4A4-7E0EA4DB68D3}"/>
          </ac:grpSpMkLst>
        </pc:grpChg>
        <pc:grpChg chg="add mod">
          <ac:chgData name="Gasteiger, Cassidy M" userId="49e4247d-81de-4625-ae16-f189e0b7e529" providerId="ADAL" clId="{EFB976C6-EC52-4602-90C8-86B8954E5255}" dt="2023-03-29T18:22:28.166" v="12889" actId="12788"/>
          <ac:grpSpMkLst>
            <pc:docMk/>
            <pc:sldMk cId="1926625910" sldId="351"/>
            <ac:grpSpMk id="202" creationId="{46794772-B121-34AE-C5D0-CC982CAEE980}"/>
          </ac:grpSpMkLst>
        </pc:grpChg>
        <pc:grpChg chg="add mod">
          <ac:chgData name="Gasteiger, Cassidy M" userId="49e4247d-81de-4625-ae16-f189e0b7e529" providerId="ADAL" clId="{EFB976C6-EC52-4602-90C8-86B8954E5255}" dt="2023-03-30T15:24:57.670" v="23093"/>
          <ac:grpSpMkLst>
            <pc:docMk/>
            <pc:sldMk cId="1926625910" sldId="351"/>
            <ac:grpSpMk id="206" creationId="{CFAB0CB8-FC3A-548D-0B76-97C2647E664E}"/>
          </ac:grpSpMkLst>
        </pc:grpChg>
        <pc:picChg chg="add del mod ord">
          <ac:chgData name="Gasteiger, Cassidy M" userId="49e4247d-81de-4625-ae16-f189e0b7e529" providerId="ADAL" clId="{EFB976C6-EC52-4602-90C8-86B8954E5255}" dt="2023-03-30T15:24:57.178" v="23092" actId="478"/>
          <ac:picMkLst>
            <pc:docMk/>
            <pc:sldMk cId="1926625910" sldId="351"/>
            <ac:picMk id="3" creationId="{921BC9BC-05B1-6F4D-48EE-89AB65EB2514}"/>
          </ac:picMkLst>
        </pc:picChg>
        <pc:picChg chg="add del mod">
          <ac:chgData name="Gasteiger, Cassidy M" userId="49e4247d-81de-4625-ae16-f189e0b7e529" providerId="ADAL" clId="{EFB976C6-EC52-4602-90C8-86B8954E5255}" dt="2023-03-26T04:09:21.451" v="1484"/>
          <ac:picMkLst>
            <pc:docMk/>
            <pc:sldMk cId="1926625910" sldId="351"/>
            <ac:picMk id="5" creationId="{B75C0A1A-F03C-99AE-2961-59238D9D22F8}"/>
          </ac:picMkLst>
        </pc:picChg>
        <pc:picChg chg="add del mod">
          <ac:chgData name="Gasteiger, Cassidy M" userId="49e4247d-81de-4625-ae16-f189e0b7e529" providerId="ADAL" clId="{EFB976C6-EC52-4602-90C8-86B8954E5255}" dt="2023-03-26T04:09:49.419" v="1497"/>
          <ac:picMkLst>
            <pc:docMk/>
            <pc:sldMk cId="1926625910" sldId="351"/>
            <ac:picMk id="8" creationId="{1F535814-E5AC-0B93-2793-FA357A21EE53}"/>
          </ac:picMkLst>
        </pc:picChg>
        <pc:picChg chg="del mod">
          <ac:chgData name="Gasteiger, Cassidy M" userId="49e4247d-81de-4625-ae16-f189e0b7e529" providerId="ADAL" clId="{EFB976C6-EC52-4602-90C8-86B8954E5255}" dt="2023-03-29T17:06:47.985" v="11975" actId="478"/>
          <ac:picMkLst>
            <pc:docMk/>
            <pc:sldMk cId="1926625910" sldId="351"/>
            <ac:picMk id="10" creationId="{64882070-1143-00D3-E74A-C18C85C0CB7B}"/>
          </ac:picMkLst>
        </pc:picChg>
        <pc:picChg chg="add del mod">
          <ac:chgData name="Gasteiger, Cassidy M" userId="49e4247d-81de-4625-ae16-f189e0b7e529" providerId="ADAL" clId="{EFB976C6-EC52-4602-90C8-86B8954E5255}" dt="2023-03-26T04:11:37.838" v="1609" actId="478"/>
          <ac:picMkLst>
            <pc:docMk/>
            <pc:sldMk cId="1926625910" sldId="351"/>
            <ac:picMk id="11" creationId="{41D44D92-DE1A-76D5-9451-A2C4133CA3B5}"/>
          </ac:picMkLst>
        </pc:picChg>
        <pc:picChg chg="add del mod">
          <ac:chgData name="Gasteiger, Cassidy M" userId="49e4247d-81de-4625-ae16-f189e0b7e529" providerId="ADAL" clId="{EFB976C6-EC52-4602-90C8-86B8954E5255}" dt="2023-03-29T17:59:40.806" v="12156" actId="478"/>
          <ac:picMkLst>
            <pc:docMk/>
            <pc:sldMk cId="1926625910" sldId="351"/>
            <ac:picMk id="16" creationId="{9E837B7F-B7B2-1AAE-9D49-CE3CC2D82BA0}"/>
          </ac:picMkLst>
        </pc:picChg>
        <pc:picChg chg="add del mod">
          <ac:chgData name="Gasteiger, Cassidy M" userId="49e4247d-81de-4625-ae16-f189e0b7e529" providerId="ADAL" clId="{EFB976C6-EC52-4602-90C8-86B8954E5255}" dt="2023-03-29T17:13:02.571" v="12004" actId="478"/>
          <ac:picMkLst>
            <pc:docMk/>
            <pc:sldMk cId="1926625910" sldId="351"/>
            <ac:picMk id="20" creationId="{3670ED8F-0B8E-840A-F15B-20BF95AD6B3B}"/>
          </ac:picMkLst>
        </pc:picChg>
        <pc:picChg chg="del">
          <ac:chgData name="Gasteiger, Cassidy M" userId="49e4247d-81de-4625-ae16-f189e0b7e529" providerId="ADAL" clId="{EFB976C6-EC52-4602-90C8-86B8954E5255}" dt="2023-03-26T03:56:28.074" v="907" actId="478"/>
          <ac:picMkLst>
            <pc:docMk/>
            <pc:sldMk cId="1926625910" sldId="351"/>
            <ac:picMk id="23" creationId="{86320AF8-2307-A5D3-36C7-D9C638EDE859}"/>
          </ac:picMkLst>
        </pc:picChg>
        <pc:picChg chg="add del mod">
          <ac:chgData name="Gasteiger, Cassidy M" userId="49e4247d-81de-4625-ae16-f189e0b7e529" providerId="ADAL" clId="{EFB976C6-EC52-4602-90C8-86B8954E5255}" dt="2023-03-29T17:07:59.073" v="11994" actId="478"/>
          <ac:picMkLst>
            <pc:docMk/>
            <pc:sldMk cId="1926625910" sldId="351"/>
            <ac:picMk id="24" creationId="{ECC4240F-CF8D-F0AF-42B8-D92CF7F59A28}"/>
          </ac:picMkLst>
        </pc:picChg>
        <pc:picChg chg="add del mod">
          <ac:chgData name="Gasteiger, Cassidy M" userId="49e4247d-81de-4625-ae16-f189e0b7e529" providerId="ADAL" clId="{EFB976C6-EC52-4602-90C8-86B8954E5255}" dt="2023-03-29T18:10:40.449" v="12607" actId="478"/>
          <ac:picMkLst>
            <pc:docMk/>
            <pc:sldMk cId="1926625910" sldId="351"/>
            <ac:picMk id="38" creationId="{0EA3FB62-C313-1C79-ABD0-4CB4A6261411}"/>
          </ac:picMkLst>
        </pc:picChg>
        <pc:picChg chg="add del mod">
          <ac:chgData name="Gasteiger, Cassidy M" userId="49e4247d-81de-4625-ae16-f189e0b7e529" providerId="ADAL" clId="{EFB976C6-EC52-4602-90C8-86B8954E5255}" dt="2023-03-29T18:13:26.346" v="12768" actId="478"/>
          <ac:picMkLst>
            <pc:docMk/>
            <pc:sldMk cId="1926625910" sldId="351"/>
            <ac:picMk id="42" creationId="{0376F587-26FE-7285-1064-C9B3959688DF}"/>
          </ac:picMkLst>
        </pc:picChg>
        <pc:picChg chg="add del mod">
          <ac:chgData name="Gasteiger, Cassidy M" userId="49e4247d-81de-4625-ae16-f189e0b7e529" providerId="ADAL" clId="{EFB976C6-EC52-4602-90C8-86B8954E5255}" dt="2023-03-29T18:17:04.914" v="12801" actId="478"/>
          <ac:picMkLst>
            <pc:docMk/>
            <pc:sldMk cId="1926625910" sldId="351"/>
            <ac:picMk id="52" creationId="{ECE37FA1-91C0-2B8E-F447-AF977D75765C}"/>
          </ac:picMkLst>
        </pc:picChg>
        <pc:picChg chg="add mod">
          <ac:chgData name="Gasteiger, Cassidy M" userId="49e4247d-81de-4625-ae16-f189e0b7e529" providerId="ADAL" clId="{EFB976C6-EC52-4602-90C8-86B8954E5255}" dt="2023-03-30T16:07:39.848" v="24330" actId="1037"/>
          <ac:picMkLst>
            <pc:docMk/>
            <pc:sldMk cId="1926625910" sldId="351"/>
            <ac:picMk id="205" creationId="{DBD03B22-1C62-3018-961D-4AEFD9EC13E2}"/>
          </ac:picMkLst>
        </pc:picChg>
        <pc:picChg chg="add mod">
          <ac:chgData name="Gasteiger, Cassidy M" userId="49e4247d-81de-4625-ae16-f189e0b7e529" providerId="ADAL" clId="{EFB976C6-EC52-4602-90C8-86B8954E5255}" dt="2023-03-29T18:21:41.955" v="12870" actId="1037"/>
          <ac:picMkLst>
            <pc:docMk/>
            <pc:sldMk cId="1926625910" sldId="351"/>
            <ac:picMk id="2050" creationId="{6734FA9A-8496-3B82-5B8F-A5E66B629736}"/>
          </ac:picMkLst>
        </pc:picChg>
        <pc:picChg chg="add mod">
          <ac:chgData name="Gasteiger, Cassidy M" userId="49e4247d-81de-4625-ae16-f189e0b7e529" providerId="ADAL" clId="{EFB976C6-EC52-4602-90C8-86B8954E5255}" dt="2023-03-29T18:21:41.955" v="12870" actId="1037"/>
          <ac:picMkLst>
            <pc:docMk/>
            <pc:sldMk cId="1926625910" sldId="351"/>
            <ac:picMk id="2052" creationId="{1FA7CF24-230C-5E35-715A-5EC8FA132620}"/>
          </ac:picMkLst>
        </pc:picChg>
        <pc:picChg chg="add mod">
          <ac:chgData name="Gasteiger, Cassidy M" userId="49e4247d-81de-4625-ae16-f189e0b7e529" providerId="ADAL" clId="{EFB976C6-EC52-4602-90C8-86B8954E5255}" dt="2023-03-29T18:21:36.609" v="12862" actId="1038"/>
          <ac:picMkLst>
            <pc:docMk/>
            <pc:sldMk cId="1926625910" sldId="351"/>
            <ac:picMk id="2054" creationId="{9623D11B-E69F-3FBB-EA3F-306E3B3011DD}"/>
          </ac:picMkLst>
        </pc:picChg>
        <pc:picChg chg="add del mod">
          <ac:chgData name="Gasteiger, Cassidy M" userId="49e4247d-81de-4625-ae16-f189e0b7e529" providerId="ADAL" clId="{EFB976C6-EC52-4602-90C8-86B8954E5255}" dt="2023-03-29T18:07:03.888" v="12403" actId="478"/>
          <ac:picMkLst>
            <pc:docMk/>
            <pc:sldMk cId="1926625910" sldId="351"/>
            <ac:picMk id="2056" creationId="{CECE5A7B-A925-33D5-8454-EEC3DEC93DBE}"/>
          </ac:picMkLst>
        </pc:picChg>
        <pc:picChg chg="add mod">
          <ac:chgData name="Gasteiger, Cassidy M" userId="49e4247d-81de-4625-ae16-f189e0b7e529" providerId="ADAL" clId="{EFB976C6-EC52-4602-90C8-86B8954E5255}" dt="2023-03-29T18:21:36.609" v="12862" actId="1038"/>
          <ac:picMkLst>
            <pc:docMk/>
            <pc:sldMk cId="1926625910" sldId="351"/>
            <ac:picMk id="2058" creationId="{9760EE85-D60B-62C1-6A8D-84ECA65BFF32}"/>
          </ac:picMkLst>
        </pc:picChg>
        <pc:picChg chg="add mod">
          <ac:chgData name="Gasteiger, Cassidy M" userId="49e4247d-81de-4625-ae16-f189e0b7e529" providerId="ADAL" clId="{EFB976C6-EC52-4602-90C8-86B8954E5255}" dt="2023-03-29T18:21:41.955" v="12870" actId="1037"/>
          <ac:picMkLst>
            <pc:docMk/>
            <pc:sldMk cId="1926625910" sldId="351"/>
            <ac:picMk id="2060" creationId="{D6D01544-8235-E110-F556-68AEB1D75B34}"/>
          </ac:picMkLst>
        </pc:picChg>
        <pc:picChg chg="add mod">
          <ac:chgData name="Gasteiger, Cassidy M" userId="49e4247d-81de-4625-ae16-f189e0b7e529" providerId="ADAL" clId="{EFB976C6-EC52-4602-90C8-86B8954E5255}" dt="2023-03-29T18:21:36.609" v="12862" actId="1038"/>
          <ac:picMkLst>
            <pc:docMk/>
            <pc:sldMk cId="1926625910" sldId="351"/>
            <ac:picMk id="2062" creationId="{AED7BEC0-FE29-B377-02BF-1EAD485CA036}"/>
          </ac:picMkLst>
        </pc:picChg>
        <pc:picChg chg="add mod">
          <ac:chgData name="Gasteiger, Cassidy M" userId="49e4247d-81de-4625-ae16-f189e0b7e529" providerId="ADAL" clId="{EFB976C6-EC52-4602-90C8-86B8954E5255}" dt="2023-03-29T18:21:41.955" v="12870" actId="1037"/>
          <ac:picMkLst>
            <pc:docMk/>
            <pc:sldMk cId="1926625910" sldId="351"/>
            <ac:picMk id="2064" creationId="{821D82C9-904E-EF7B-1E39-D0653FA7F0EE}"/>
          </ac:picMkLst>
        </pc:picChg>
        <pc:picChg chg="add mod">
          <ac:chgData name="Gasteiger, Cassidy M" userId="49e4247d-81de-4625-ae16-f189e0b7e529" providerId="ADAL" clId="{EFB976C6-EC52-4602-90C8-86B8954E5255}" dt="2023-03-29T18:21:36.609" v="12862" actId="1038"/>
          <ac:picMkLst>
            <pc:docMk/>
            <pc:sldMk cId="1926625910" sldId="351"/>
            <ac:picMk id="2066" creationId="{55504FC8-B14A-C6E3-56E3-0ED158C76834}"/>
          </ac:picMkLst>
        </pc:picChg>
        <pc:cxnChg chg="add mod">
          <ac:chgData name="Gasteiger, Cassidy M" userId="49e4247d-81de-4625-ae16-f189e0b7e529" providerId="ADAL" clId="{EFB976C6-EC52-4602-90C8-86B8954E5255}" dt="2023-03-29T18:21:41.955" v="12870" actId="1037"/>
          <ac:cxnSpMkLst>
            <pc:docMk/>
            <pc:sldMk cId="1926625910" sldId="351"/>
            <ac:cxnSpMk id="54" creationId="{5194BE12-9B54-07CD-4DBD-57DCF24839E1}"/>
          </ac:cxnSpMkLst>
        </pc:cxnChg>
        <pc:cxnChg chg="add mod">
          <ac:chgData name="Gasteiger, Cassidy M" userId="49e4247d-81de-4625-ae16-f189e0b7e529" providerId="ADAL" clId="{EFB976C6-EC52-4602-90C8-86B8954E5255}" dt="2023-03-29T18:21:41.955" v="12870" actId="1037"/>
          <ac:cxnSpMkLst>
            <pc:docMk/>
            <pc:sldMk cId="1926625910" sldId="351"/>
            <ac:cxnSpMk id="55" creationId="{4AFFFDD4-F172-2F84-BCBB-73D4F37C920C}"/>
          </ac:cxnSpMkLst>
        </pc:cxnChg>
        <pc:cxnChg chg="add mod">
          <ac:chgData name="Gasteiger, Cassidy M" userId="49e4247d-81de-4625-ae16-f189e0b7e529" providerId="ADAL" clId="{EFB976C6-EC52-4602-90C8-86B8954E5255}" dt="2023-03-29T18:21:41.955" v="12870" actId="1037"/>
          <ac:cxnSpMkLst>
            <pc:docMk/>
            <pc:sldMk cId="1926625910" sldId="351"/>
            <ac:cxnSpMk id="56" creationId="{65E23FD5-407E-C267-125A-F6AB1C96E048}"/>
          </ac:cxnSpMkLst>
        </pc:cxnChg>
        <pc:cxnChg chg="add mod">
          <ac:chgData name="Gasteiger, Cassidy M" userId="49e4247d-81de-4625-ae16-f189e0b7e529" providerId="ADAL" clId="{EFB976C6-EC52-4602-90C8-86B8954E5255}" dt="2023-03-29T18:21:41.955" v="12870" actId="1037"/>
          <ac:cxnSpMkLst>
            <pc:docMk/>
            <pc:sldMk cId="1926625910" sldId="351"/>
            <ac:cxnSpMk id="57" creationId="{2DE128E4-E36D-3558-AB48-CDE2F6D23373}"/>
          </ac:cxnSpMkLst>
        </pc:cxnChg>
        <pc:cxnChg chg="add mod">
          <ac:chgData name="Gasteiger, Cassidy M" userId="49e4247d-81de-4625-ae16-f189e0b7e529" providerId="ADAL" clId="{EFB976C6-EC52-4602-90C8-86B8954E5255}" dt="2023-03-29T18:21:41.955" v="12870" actId="1037"/>
          <ac:cxnSpMkLst>
            <pc:docMk/>
            <pc:sldMk cId="1926625910" sldId="351"/>
            <ac:cxnSpMk id="59" creationId="{CFD527C9-B908-D1E7-9666-D6577CAF68F8}"/>
          </ac:cxnSpMkLst>
        </pc:cxnChg>
        <pc:cxnChg chg="add del mod">
          <ac:chgData name="Gasteiger, Cassidy M" userId="49e4247d-81de-4625-ae16-f189e0b7e529" providerId="ADAL" clId="{EFB976C6-EC52-4602-90C8-86B8954E5255}" dt="2023-03-29T18:22:10.032" v="12885" actId="478"/>
          <ac:cxnSpMkLst>
            <pc:docMk/>
            <pc:sldMk cId="1926625910" sldId="351"/>
            <ac:cxnSpMk id="63" creationId="{10C303C5-AB3A-7C42-248B-B7847C1F7BAD}"/>
          </ac:cxnSpMkLst>
        </pc:cxnChg>
        <pc:cxnChg chg="add mod">
          <ac:chgData name="Gasteiger, Cassidy M" userId="49e4247d-81de-4625-ae16-f189e0b7e529" providerId="ADAL" clId="{EFB976C6-EC52-4602-90C8-86B8954E5255}" dt="2023-03-29T18:21:36.609" v="12862" actId="1038"/>
          <ac:cxnSpMkLst>
            <pc:docMk/>
            <pc:sldMk cId="1926625910" sldId="351"/>
            <ac:cxnSpMk id="194" creationId="{B5E39524-074A-9F79-1562-3D5A8ECA0600}"/>
          </ac:cxnSpMkLst>
        </pc:cxnChg>
        <pc:cxnChg chg="add mod">
          <ac:chgData name="Gasteiger, Cassidy M" userId="49e4247d-81de-4625-ae16-f189e0b7e529" providerId="ADAL" clId="{EFB976C6-EC52-4602-90C8-86B8954E5255}" dt="2023-03-29T18:21:36.609" v="12862" actId="1038"/>
          <ac:cxnSpMkLst>
            <pc:docMk/>
            <pc:sldMk cId="1926625910" sldId="351"/>
            <ac:cxnSpMk id="196" creationId="{94B7E21C-46E1-05F1-0E3E-CEA9412FABAD}"/>
          </ac:cxnSpMkLst>
        </pc:cxnChg>
        <pc:cxnChg chg="add mod">
          <ac:chgData name="Gasteiger, Cassidy M" userId="49e4247d-81de-4625-ae16-f189e0b7e529" providerId="ADAL" clId="{EFB976C6-EC52-4602-90C8-86B8954E5255}" dt="2023-03-29T18:21:36.609" v="12862" actId="1038"/>
          <ac:cxnSpMkLst>
            <pc:docMk/>
            <pc:sldMk cId="1926625910" sldId="351"/>
            <ac:cxnSpMk id="197" creationId="{913813B4-EDF5-7AC4-23FE-29D503933A8C}"/>
          </ac:cxnSpMkLst>
        </pc:cxnChg>
        <pc:cxnChg chg="add mod">
          <ac:chgData name="Gasteiger, Cassidy M" userId="49e4247d-81de-4625-ae16-f189e0b7e529" providerId="ADAL" clId="{EFB976C6-EC52-4602-90C8-86B8954E5255}" dt="2023-03-29T18:21:36.609" v="12862" actId="1038"/>
          <ac:cxnSpMkLst>
            <pc:docMk/>
            <pc:sldMk cId="1926625910" sldId="351"/>
            <ac:cxnSpMk id="198" creationId="{0292B5C0-D4E7-B727-95EE-CE6F230198F1}"/>
          </ac:cxnSpMkLst>
        </pc:cxnChg>
        <pc:cxnChg chg="add mod">
          <ac:chgData name="Gasteiger, Cassidy M" userId="49e4247d-81de-4625-ae16-f189e0b7e529" providerId="ADAL" clId="{EFB976C6-EC52-4602-90C8-86B8954E5255}" dt="2023-03-29T18:21:36.609" v="12862" actId="1038"/>
          <ac:cxnSpMkLst>
            <pc:docMk/>
            <pc:sldMk cId="1926625910" sldId="351"/>
            <ac:cxnSpMk id="199" creationId="{EF87C434-7E95-1B40-6AF5-059B78B50ACC}"/>
          </ac:cxnSpMkLst>
        </pc:cxnChg>
        <pc:cxnChg chg="add mod">
          <ac:chgData name="Gasteiger, Cassidy M" userId="49e4247d-81de-4625-ae16-f189e0b7e529" providerId="ADAL" clId="{EFB976C6-EC52-4602-90C8-86B8954E5255}" dt="2023-03-29T18:21:49.229" v="12871" actId="1076"/>
          <ac:cxnSpMkLst>
            <pc:docMk/>
            <pc:sldMk cId="1926625910" sldId="351"/>
            <ac:cxnSpMk id="201" creationId="{378D7149-28B8-9FFD-EFB9-AA74AAC74B21}"/>
          </ac:cxnSpMkLst>
        </pc:cxnChg>
        <pc:cxnChg chg="add mod">
          <ac:chgData name="Gasteiger, Cassidy M" userId="49e4247d-81de-4625-ae16-f189e0b7e529" providerId="ADAL" clId="{EFB976C6-EC52-4602-90C8-86B8954E5255}" dt="2023-03-29T18:22:40.262" v="12891" actId="1076"/>
          <ac:cxnSpMkLst>
            <pc:docMk/>
            <pc:sldMk cId="1926625910" sldId="351"/>
            <ac:cxnSpMk id="203" creationId="{2EA26C07-B8B2-1451-FD0F-A36C23A4A414}"/>
          </ac:cxnSpMkLst>
        </pc:cxnChg>
      </pc:sldChg>
      <pc:sldChg chg="addSp delSp modSp add del mod">
        <pc:chgData name="Gasteiger, Cassidy M" userId="49e4247d-81de-4625-ae16-f189e0b7e529" providerId="ADAL" clId="{EFB976C6-EC52-4602-90C8-86B8954E5255}" dt="2023-03-29T22:01:24.198" v="13720" actId="2696"/>
        <pc:sldMkLst>
          <pc:docMk/>
          <pc:sldMk cId="2904562858" sldId="352"/>
        </pc:sldMkLst>
        <pc:spChg chg="del">
          <ac:chgData name="Gasteiger, Cassidy M" userId="49e4247d-81de-4625-ae16-f189e0b7e529" providerId="ADAL" clId="{EFB976C6-EC52-4602-90C8-86B8954E5255}" dt="2023-03-29T02:56:52.107" v="10851" actId="478"/>
          <ac:spMkLst>
            <pc:docMk/>
            <pc:sldMk cId="2904562858" sldId="352"/>
            <ac:spMk id="2" creationId="{F098E5C7-7B68-DCF9-D4D3-4116DF732764}"/>
          </ac:spMkLst>
        </pc:spChg>
        <pc:spChg chg="mod">
          <ac:chgData name="Gasteiger, Cassidy M" userId="49e4247d-81de-4625-ae16-f189e0b7e529" providerId="ADAL" clId="{EFB976C6-EC52-4602-90C8-86B8954E5255}" dt="2023-03-26T04:16:44.400" v="1727" actId="20577"/>
          <ac:spMkLst>
            <pc:docMk/>
            <pc:sldMk cId="2904562858" sldId="352"/>
            <ac:spMk id="3" creationId="{147FA591-52E7-09A6-392E-5EED6FBCFEF9}"/>
          </ac:spMkLst>
        </pc:spChg>
        <pc:spChg chg="mod">
          <ac:chgData name="Gasteiger, Cassidy M" userId="49e4247d-81de-4625-ae16-f189e0b7e529" providerId="ADAL" clId="{EFB976C6-EC52-4602-90C8-86B8954E5255}" dt="2023-03-29T02:56:52.740" v="10852"/>
          <ac:spMkLst>
            <pc:docMk/>
            <pc:sldMk cId="2904562858" sldId="352"/>
            <ac:spMk id="5" creationId="{4F7FA6FD-A73E-BD34-E3F6-D421B104E758}"/>
          </ac:spMkLst>
        </pc:spChg>
        <pc:spChg chg="add del mod">
          <ac:chgData name="Gasteiger, Cassidy M" userId="49e4247d-81de-4625-ae16-f189e0b7e529" providerId="ADAL" clId="{EFB976C6-EC52-4602-90C8-86B8954E5255}" dt="2023-03-27T19:09:02.782" v="4327" actId="478"/>
          <ac:spMkLst>
            <pc:docMk/>
            <pc:sldMk cId="2904562858" sldId="352"/>
            <ac:spMk id="7" creationId="{EBE908A8-00BF-125C-E586-4C1E0C43EC37}"/>
          </ac:spMkLst>
        </pc:spChg>
        <pc:spChg chg="add mod">
          <ac:chgData name="Gasteiger, Cassidy M" userId="49e4247d-81de-4625-ae16-f189e0b7e529" providerId="ADAL" clId="{EFB976C6-EC52-4602-90C8-86B8954E5255}" dt="2023-03-29T02:14:10.207" v="8707" actId="20577"/>
          <ac:spMkLst>
            <pc:docMk/>
            <pc:sldMk cId="2904562858" sldId="352"/>
            <ac:spMk id="8" creationId="{8D83940B-7D11-EBA5-8CCA-833E1B6B696B}"/>
          </ac:spMkLst>
        </pc:spChg>
        <pc:spChg chg="mod">
          <ac:chgData name="Gasteiger, Cassidy M" userId="49e4247d-81de-4625-ae16-f189e0b7e529" providerId="ADAL" clId="{EFB976C6-EC52-4602-90C8-86B8954E5255}" dt="2023-03-27T19:08:54.862" v="4325"/>
          <ac:spMkLst>
            <pc:docMk/>
            <pc:sldMk cId="2904562858" sldId="352"/>
            <ac:spMk id="12" creationId="{440FDACD-1594-C531-4875-710B17AA73FB}"/>
          </ac:spMkLst>
        </pc:spChg>
        <pc:spChg chg="mod">
          <ac:chgData name="Gasteiger, Cassidy M" userId="49e4247d-81de-4625-ae16-f189e0b7e529" providerId="ADAL" clId="{EFB976C6-EC52-4602-90C8-86B8954E5255}" dt="2023-03-27T19:08:54.862" v="4325"/>
          <ac:spMkLst>
            <pc:docMk/>
            <pc:sldMk cId="2904562858" sldId="352"/>
            <ac:spMk id="13" creationId="{18D6BACA-2F36-41D6-302E-5D3691CFE4D7}"/>
          </ac:spMkLst>
        </pc:spChg>
        <pc:spChg chg="mod">
          <ac:chgData name="Gasteiger, Cassidy M" userId="49e4247d-81de-4625-ae16-f189e0b7e529" providerId="ADAL" clId="{EFB976C6-EC52-4602-90C8-86B8954E5255}" dt="2023-03-29T02:56:52.740" v="10852"/>
          <ac:spMkLst>
            <pc:docMk/>
            <pc:sldMk cId="2904562858" sldId="352"/>
            <ac:spMk id="15" creationId="{87DCCD3A-7260-97E2-1120-CCD0945BDFC9}"/>
          </ac:spMkLst>
        </pc:spChg>
        <pc:spChg chg="del">
          <ac:chgData name="Gasteiger, Cassidy M" userId="49e4247d-81de-4625-ae16-f189e0b7e529" providerId="ADAL" clId="{EFB976C6-EC52-4602-90C8-86B8954E5255}" dt="2023-03-26T04:17:06.120" v="1745" actId="478"/>
          <ac:spMkLst>
            <pc:docMk/>
            <pc:sldMk cId="2904562858" sldId="352"/>
            <ac:spMk id="22" creationId="{EA9F1E84-2C95-A503-8466-7CBAA5D66FF9}"/>
          </ac:spMkLst>
        </pc:spChg>
        <pc:spChg chg="del">
          <ac:chgData name="Gasteiger, Cassidy M" userId="49e4247d-81de-4625-ae16-f189e0b7e529" providerId="ADAL" clId="{EFB976C6-EC52-4602-90C8-86B8954E5255}" dt="2023-03-26T04:17:06.120" v="1745" actId="478"/>
          <ac:spMkLst>
            <pc:docMk/>
            <pc:sldMk cId="2904562858" sldId="352"/>
            <ac:spMk id="31" creationId="{61561BC8-0664-7394-8287-BBD6202FD8C1}"/>
          </ac:spMkLst>
        </pc:spChg>
        <pc:spChg chg="del">
          <ac:chgData name="Gasteiger, Cassidy M" userId="49e4247d-81de-4625-ae16-f189e0b7e529" providerId="ADAL" clId="{EFB976C6-EC52-4602-90C8-86B8954E5255}" dt="2023-03-26T04:17:06.120" v="1745" actId="478"/>
          <ac:spMkLst>
            <pc:docMk/>
            <pc:sldMk cId="2904562858" sldId="352"/>
            <ac:spMk id="32" creationId="{9D7AA025-4938-72FD-F5BD-02E325D9D306}"/>
          </ac:spMkLst>
        </pc:spChg>
        <pc:spChg chg="del">
          <ac:chgData name="Gasteiger, Cassidy M" userId="49e4247d-81de-4625-ae16-f189e0b7e529" providerId="ADAL" clId="{EFB976C6-EC52-4602-90C8-86B8954E5255}" dt="2023-03-26T04:17:06.120" v="1745" actId="478"/>
          <ac:spMkLst>
            <pc:docMk/>
            <pc:sldMk cId="2904562858" sldId="352"/>
            <ac:spMk id="33" creationId="{F85308F3-A9E8-0C29-10A4-C56A192119A4}"/>
          </ac:spMkLst>
        </pc:spChg>
        <pc:spChg chg="del">
          <ac:chgData name="Gasteiger, Cassidy M" userId="49e4247d-81de-4625-ae16-f189e0b7e529" providerId="ADAL" clId="{EFB976C6-EC52-4602-90C8-86B8954E5255}" dt="2023-03-26T04:17:06.120" v="1745" actId="478"/>
          <ac:spMkLst>
            <pc:docMk/>
            <pc:sldMk cId="2904562858" sldId="352"/>
            <ac:spMk id="34" creationId="{06B8CE2B-624F-5554-88E2-0FF841372D46}"/>
          </ac:spMkLst>
        </pc:spChg>
        <pc:spChg chg="del">
          <ac:chgData name="Gasteiger, Cassidy M" userId="49e4247d-81de-4625-ae16-f189e0b7e529" providerId="ADAL" clId="{EFB976C6-EC52-4602-90C8-86B8954E5255}" dt="2023-03-26T04:17:06.120" v="1745" actId="478"/>
          <ac:spMkLst>
            <pc:docMk/>
            <pc:sldMk cId="2904562858" sldId="352"/>
            <ac:spMk id="35" creationId="{492DE9AF-82C5-F203-E49F-57D7D33EF38B}"/>
          </ac:spMkLst>
        </pc:spChg>
        <pc:spChg chg="del">
          <ac:chgData name="Gasteiger, Cassidy M" userId="49e4247d-81de-4625-ae16-f189e0b7e529" providerId="ADAL" clId="{EFB976C6-EC52-4602-90C8-86B8954E5255}" dt="2023-03-26T04:17:06.120" v="1745" actId="478"/>
          <ac:spMkLst>
            <pc:docMk/>
            <pc:sldMk cId="2904562858" sldId="352"/>
            <ac:spMk id="36" creationId="{92545934-EA22-12A7-C97C-D48A34D06A1F}"/>
          </ac:spMkLst>
        </pc:spChg>
        <pc:spChg chg="del">
          <ac:chgData name="Gasteiger, Cassidy M" userId="49e4247d-81de-4625-ae16-f189e0b7e529" providerId="ADAL" clId="{EFB976C6-EC52-4602-90C8-86B8954E5255}" dt="2023-03-26T04:17:06.120" v="1745" actId="478"/>
          <ac:spMkLst>
            <pc:docMk/>
            <pc:sldMk cId="2904562858" sldId="352"/>
            <ac:spMk id="37" creationId="{9CCF89E3-244C-3F20-EEEC-3EF23BEF0D8A}"/>
          </ac:spMkLst>
        </pc:spChg>
        <pc:spChg chg="del">
          <ac:chgData name="Gasteiger, Cassidy M" userId="49e4247d-81de-4625-ae16-f189e0b7e529" providerId="ADAL" clId="{EFB976C6-EC52-4602-90C8-86B8954E5255}" dt="2023-03-26T04:17:06.120" v="1745" actId="478"/>
          <ac:spMkLst>
            <pc:docMk/>
            <pc:sldMk cId="2904562858" sldId="352"/>
            <ac:spMk id="38" creationId="{07F58CF7-4053-B7F2-B40D-687B3610612F}"/>
          </ac:spMkLst>
        </pc:spChg>
        <pc:spChg chg="mod">
          <ac:chgData name="Gasteiger, Cassidy M" userId="49e4247d-81de-4625-ae16-f189e0b7e529" providerId="ADAL" clId="{EFB976C6-EC52-4602-90C8-86B8954E5255}" dt="2023-03-26T04:21:20.578" v="2779" actId="20577"/>
          <ac:spMkLst>
            <pc:docMk/>
            <pc:sldMk cId="2904562858" sldId="352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29T02:56:52.740" v="10852"/>
          <ac:grpSpMkLst>
            <pc:docMk/>
            <pc:sldMk cId="2904562858" sldId="352"/>
            <ac:grpSpMk id="4" creationId="{5B1AF7C7-178F-74F4-9C38-F12D3B267C26}"/>
          </ac:grpSpMkLst>
        </pc:grpChg>
        <pc:grpChg chg="add mod">
          <ac:chgData name="Gasteiger, Cassidy M" userId="49e4247d-81de-4625-ae16-f189e0b7e529" providerId="ADAL" clId="{EFB976C6-EC52-4602-90C8-86B8954E5255}" dt="2023-03-27T19:08:57.943" v="4326" actId="1076"/>
          <ac:grpSpMkLst>
            <pc:docMk/>
            <pc:sldMk cId="2904562858" sldId="352"/>
            <ac:grpSpMk id="9" creationId="{72D8783A-294D-0644-DF66-6E3BFF291D8C}"/>
          </ac:grpSpMkLst>
        </pc:grpChg>
        <pc:grpChg chg="mod">
          <ac:chgData name="Gasteiger, Cassidy M" userId="49e4247d-81de-4625-ae16-f189e0b7e529" providerId="ADAL" clId="{EFB976C6-EC52-4602-90C8-86B8954E5255}" dt="2023-03-27T19:08:54.862" v="4325"/>
          <ac:grpSpMkLst>
            <pc:docMk/>
            <pc:sldMk cId="2904562858" sldId="352"/>
            <ac:grpSpMk id="10" creationId="{BB8C2B7D-15BC-F970-E31D-64F23E36F655}"/>
          </ac:grpSpMkLst>
        </pc:grpChg>
        <pc:grpChg chg="del">
          <ac:chgData name="Gasteiger, Cassidy M" userId="49e4247d-81de-4625-ae16-f189e0b7e529" providerId="ADAL" clId="{EFB976C6-EC52-4602-90C8-86B8954E5255}" dt="2023-03-26T04:17:06.120" v="1745" actId="478"/>
          <ac:grpSpMkLst>
            <pc:docMk/>
            <pc:sldMk cId="2904562858" sldId="352"/>
            <ac:grpSpMk id="44" creationId="{21DEDE34-0111-0DED-431F-3B42B85312BD}"/>
          </ac:grpSpMkLst>
        </pc:grpChg>
        <pc:graphicFrameChg chg="add mod modGraphic">
          <ac:chgData name="Gasteiger, Cassidy M" userId="49e4247d-81de-4625-ae16-f189e0b7e529" providerId="ADAL" clId="{EFB976C6-EC52-4602-90C8-86B8954E5255}" dt="2023-03-27T22:45:54.369" v="6104" actId="20577"/>
          <ac:graphicFrameMkLst>
            <pc:docMk/>
            <pc:sldMk cId="2904562858" sldId="352"/>
            <ac:graphicFrameMk id="14" creationId="{50124796-EF29-A7A2-6287-BE5EB3412D5C}"/>
          </ac:graphicFrameMkLst>
        </pc:graphicFrameChg>
        <pc:picChg chg="del">
          <ac:chgData name="Gasteiger, Cassidy M" userId="49e4247d-81de-4625-ae16-f189e0b7e529" providerId="ADAL" clId="{EFB976C6-EC52-4602-90C8-86B8954E5255}" dt="2023-03-26T04:16:46.182" v="1728" actId="478"/>
          <ac:picMkLst>
            <pc:docMk/>
            <pc:sldMk cId="2904562858" sldId="352"/>
            <ac:picMk id="4" creationId="{8F177A29-4DB7-CD1F-2E5D-6E2F2958235C}"/>
          </ac:picMkLst>
        </pc:picChg>
        <pc:picChg chg="add del mod">
          <ac:chgData name="Gasteiger, Cassidy M" userId="49e4247d-81de-4625-ae16-f189e0b7e529" providerId="ADAL" clId="{EFB976C6-EC52-4602-90C8-86B8954E5255}" dt="2023-03-29T02:56:52.107" v="10851" actId="478"/>
          <ac:picMkLst>
            <pc:docMk/>
            <pc:sldMk cId="2904562858" sldId="352"/>
            <ac:picMk id="6" creationId="{86D6DC68-3C4C-3CC9-82A5-63EAC0B7B9D3}"/>
          </ac:picMkLst>
        </pc:picChg>
        <pc:picChg chg="mod">
          <ac:chgData name="Gasteiger, Cassidy M" userId="49e4247d-81de-4625-ae16-f189e0b7e529" providerId="ADAL" clId="{EFB976C6-EC52-4602-90C8-86B8954E5255}" dt="2023-03-29T02:56:52.740" v="10852"/>
          <ac:picMkLst>
            <pc:docMk/>
            <pc:sldMk cId="2904562858" sldId="352"/>
            <ac:picMk id="7" creationId="{E6516FF1-4CCA-7E41-AAC0-E5B40DAF2E7D}"/>
          </ac:picMkLst>
        </pc:picChg>
        <pc:picChg chg="mod">
          <ac:chgData name="Gasteiger, Cassidy M" userId="49e4247d-81de-4625-ae16-f189e0b7e529" providerId="ADAL" clId="{EFB976C6-EC52-4602-90C8-86B8954E5255}" dt="2023-03-27T19:08:54.862" v="4325"/>
          <ac:picMkLst>
            <pc:docMk/>
            <pc:sldMk cId="2904562858" sldId="352"/>
            <ac:picMk id="11" creationId="{B5513139-4C17-E2F5-6BB6-92BC4F02AB4E}"/>
          </ac:picMkLst>
        </pc:picChg>
        <pc:picChg chg="del">
          <ac:chgData name="Gasteiger, Cassidy M" userId="49e4247d-81de-4625-ae16-f189e0b7e529" providerId="ADAL" clId="{EFB976C6-EC52-4602-90C8-86B8954E5255}" dt="2023-03-26T04:17:06.120" v="1745" actId="478"/>
          <ac:picMkLst>
            <pc:docMk/>
            <pc:sldMk cId="2904562858" sldId="352"/>
            <ac:picMk id="41" creationId="{5EE90EA3-B12E-4AB9-9D9E-F3D8B24CCF18}"/>
          </ac:picMkLst>
        </pc:picChg>
        <pc:picChg chg="del">
          <ac:chgData name="Gasteiger, Cassidy M" userId="49e4247d-81de-4625-ae16-f189e0b7e529" providerId="ADAL" clId="{EFB976C6-EC52-4602-90C8-86B8954E5255}" dt="2023-03-26T04:17:06.120" v="1745" actId="478"/>
          <ac:picMkLst>
            <pc:docMk/>
            <pc:sldMk cId="2904562858" sldId="352"/>
            <ac:picMk id="43" creationId="{7C749D93-3C59-0352-B5FE-1B712A28AFDA}"/>
          </ac:picMkLst>
        </pc:picChg>
      </pc:sldChg>
      <pc:sldChg chg="addSp delSp modSp add mod ord">
        <pc:chgData name="Gasteiger, Cassidy M" userId="49e4247d-81de-4625-ae16-f189e0b7e529" providerId="ADAL" clId="{EFB976C6-EC52-4602-90C8-86B8954E5255}" dt="2023-03-30T22:31:17.942" v="33037"/>
        <pc:sldMkLst>
          <pc:docMk/>
          <pc:sldMk cId="412744018" sldId="353"/>
        </pc:sldMkLst>
        <pc:spChg chg="add mod">
          <ac:chgData name="Gasteiger, Cassidy M" userId="49e4247d-81de-4625-ae16-f189e0b7e529" providerId="ADAL" clId="{EFB976C6-EC52-4602-90C8-86B8954E5255}" dt="2023-03-30T20:24:03.807" v="29550" actId="1076"/>
          <ac:spMkLst>
            <pc:docMk/>
            <pc:sldMk cId="412744018" sldId="353"/>
            <ac:spMk id="2" creationId="{A1779261-861F-F1C0-7B54-99561AA99D67}"/>
          </ac:spMkLst>
        </pc:spChg>
        <pc:spChg chg="del">
          <ac:chgData name="Gasteiger, Cassidy M" userId="49e4247d-81de-4625-ae16-f189e0b7e529" providerId="ADAL" clId="{EFB976C6-EC52-4602-90C8-86B8954E5255}" dt="2023-03-29T02:56:39.498" v="10846" actId="478"/>
          <ac:spMkLst>
            <pc:docMk/>
            <pc:sldMk cId="412744018" sldId="353"/>
            <ac:spMk id="2" creationId="{F098E5C7-7B68-DCF9-D4D3-4116DF732764}"/>
          </ac:spMkLst>
        </pc:spChg>
        <pc:spChg chg="add mod">
          <ac:chgData name="Gasteiger, Cassidy M" userId="49e4247d-81de-4625-ae16-f189e0b7e529" providerId="ADAL" clId="{EFB976C6-EC52-4602-90C8-86B8954E5255}" dt="2023-03-30T20:20:32.838" v="29277" actId="164"/>
          <ac:spMkLst>
            <pc:docMk/>
            <pc:sldMk cId="412744018" sldId="353"/>
            <ac:spMk id="4" creationId="{0541D2F1-9510-E4F5-4744-D3CCD4E6CFB0}"/>
          </ac:spMkLst>
        </pc:spChg>
        <pc:spChg chg="mod">
          <ac:chgData name="Gasteiger, Cassidy M" userId="49e4247d-81de-4625-ae16-f189e0b7e529" providerId="ADAL" clId="{EFB976C6-EC52-4602-90C8-86B8954E5255}" dt="2023-03-29T02:56:40.187" v="10847"/>
          <ac:spMkLst>
            <pc:docMk/>
            <pc:sldMk cId="412744018" sldId="353"/>
            <ac:spMk id="5" creationId="{191C8CAD-E0F3-D79A-CAE5-B122D87DD56A}"/>
          </ac:spMkLst>
        </pc:spChg>
        <pc:spChg chg="add mod">
          <ac:chgData name="Gasteiger, Cassidy M" userId="49e4247d-81de-4625-ae16-f189e0b7e529" providerId="ADAL" clId="{EFB976C6-EC52-4602-90C8-86B8954E5255}" dt="2023-03-30T20:24:03.807" v="29550" actId="1076"/>
          <ac:spMkLst>
            <pc:docMk/>
            <pc:sldMk cId="412744018" sldId="353"/>
            <ac:spMk id="5" creationId="{8EB409B2-3FF5-9FD2-CB2A-95DF6F4B2DDD}"/>
          </ac:spMkLst>
        </pc:spChg>
        <pc:spChg chg="del mod">
          <ac:chgData name="Gasteiger, Cassidy M" userId="49e4247d-81de-4625-ae16-f189e0b7e529" providerId="ADAL" clId="{EFB976C6-EC52-4602-90C8-86B8954E5255}" dt="2023-03-30T05:59:15.763" v="20086" actId="478"/>
          <ac:spMkLst>
            <pc:docMk/>
            <pc:sldMk cId="412744018" sldId="353"/>
            <ac:spMk id="7" creationId="{EBE908A8-00BF-125C-E586-4C1E0C43EC37}"/>
          </ac:spMkLst>
        </pc:spChg>
        <pc:spChg chg="add mod">
          <ac:chgData name="Gasteiger, Cassidy M" userId="49e4247d-81de-4625-ae16-f189e0b7e529" providerId="ADAL" clId="{EFB976C6-EC52-4602-90C8-86B8954E5255}" dt="2023-03-30T20:24:03.807" v="29550" actId="1076"/>
          <ac:spMkLst>
            <pc:docMk/>
            <pc:sldMk cId="412744018" sldId="353"/>
            <ac:spMk id="8" creationId="{CE0AE4DB-A65E-D4FD-87AF-2822E62E9FA2}"/>
          </ac:spMkLst>
        </pc:spChg>
        <pc:spChg chg="add mod">
          <ac:chgData name="Gasteiger, Cassidy M" userId="49e4247d-81de-4625-ae16-f189e0b7e529" providerId="ADAL" clId="{EFB976C6-EC52-4602-90C8-86B8954E5255}" dt="2023-03-30T20:24:03.807" v="29550" actId="1076"/>
          <ac:spMkLst>
            <pc:docMk/>
            <pc:sldMk cId="412744018" sldId="353"/>
            <ac:spMk id="9" creationId="{0FC9A675-B587-B3C0-3936-534B35CD7440}"/>
          </ac:spMkLst>
        </pc:spChg>
        <pc:spChg chg="del mod">
          <ac:chgData name="Gasteiger, Cassidy M" userId="49e4247d-81de-4625-ae16-f189e0b7e529" providerId="ADAL" clId="{EFB976C6-EC52-4602-90C8-86B8954E5255}" dt="2023-03-30T15:29:27.794" v="23232" actId="478"/>
          <ac:spMkLst>
            <pc:docMk/>
            <pc:sldMk cId="412744018" sldId="353"/>
            <ac:spMk id="9" creationId="{4CD1B453-E99E-D007-2E55-1D7A9FCC1A77}"/>
          </ac:spMkLst>
        </pc:spChg>
        <pc:spChg chg="add mod">
          <ac:chgData name="Gasteiger, Cassidy M" userId="49e4247d-81de-4625-ae16-f189e0b7e529" providerId="ADAL" clId="{EFB976C6-EC52-4602-90C8-86B8954E5255}" dt="2023-03-30T20:24:03.807" v="29550" actId="1076"/>
          <ac:spMkLst>
            <pc:docMk/>
            <pc:sldMk cId="412744018" sldId="353"/>
            <ac:spMk id="11" creationId="{3E325338-A82C-B498-59C3-508324EA49FA}"/>
          </ac:spMkLst>
        </pc:spChg>
        <pc:spChg chg="add mod">
          <ac:chgData name="Gasteiger, Cassidy M" userId="49e4247d-81de-4625-ae16-f189e0b7e529" providerId="ADAL" clId="{EFB976C6-EC52-4602-90C8-86B8954E5255}" dt="2023-03-30T20:24:03.807" v="29550" actId="1076"/>
          <ac:spMkLst>
            <pc:docMk/>
            <pc:sldMk cId="412744018" sldId="353"/>
            <ac:spMk id="13" creationId="{17BFCE8C-B378-66FB-EF07-04E4BC108887}"/>
          </ac:spMkLst>
        </pc:spChg>
        <pc:spChg chg="mod">
          <ac:chgData name="Gasteiger, Cassidy M" userId="49e4247d-81de-4625-ae16-f189e0b7e529" providerId="ADAL" clId="{EFB976C6-EC52-4602-90C8-86B8954E5255}" dt="2023-03-30T21:52:02.475" v="32176"/>
          <ac:spMkLst>
            <pc:docMk/>
            <pc:sldMk cId="412744018" sldId="353"/>
            <ac:spMk id="14" creationId="{5A6AF3D2-46E7-1C94-34A3-BF39E04B18A0}"/>
          </ac:spMkLst>
        </pc:spChg>
        <pc:spChg chg="mod">
          <ac:chgData name="Gasteiger, Cassidy M" userId="49e4247d-81de-4625-ae16-f189e0b7e529" providerId="ADAL" clId="{EFB976C6-EC52-4602-90C8-86B8954E5255}" dt="2023-03-30T21:52:02.475" v="32176"/>
          <ac:spMkLst>
            <pc:docMk/>
            <pc:sldMk cId="412744018" sldId="353"/>
            <ac:spMk id="15" creationId="{AA6D6040-7108-7188-01C9-89C47C939C68}"/>
          </ac:spMkLst>
        </pc:spChg>
        <pc:spChg chg="mod">
          <ac:chgData name="Gasteiger, Cassidy M" userId="49e4247d-81de-4625-ae16-f189e0b7e529" providerId="ADAL" clId="{EFB976C6-EC52-4602-90C8-86B8954E5255}" dt="2023-03-30T15:44:07.261" v="24104" actId="20577"/>
          <ac:spMkLst>
            <pc:docMk/>
            <pc:sldMk cId="412744018" sldId="353"/>
            <ac:spMk id="18" creationId="{D0920ECA-2FAA-0847-91B9-A0B19E9F62E3}"/>
          </ac:spMkLst>
        </pc:spChg>
        <pc:spChg chg="mod">
          <ac:chgData name="Gasteiger, Cassidy M" userId="49e4247d-81de-4625-ae16-f189e0b7e529" providerId="ADAL" clId="{EFB976C6-EC52-4602-90C8-86B8954E5255}" dt="2023-03-30T15:43:59.779" v="24090"/>
          <ac:spMkLst>
            <pc:docMk/>
            <pc:sldMk cId="412744018" sldId="353"/>
            <ac:spMk id="19" creationId="{722AFF94-9146-D141-F03B-9FC2948BC822}"/>
          </ac:spMkLst>
        </pc:spChg>
        <pc:spChg chg="mod">
          <ac:chgData name="Gasteiger, Cassidy M" userId="49e4247d-81de-4625-ae16-f189e0b7e529" providerId="ADAL" clId="{EFB976C6-EC52-4602-90C8-86B8954E5255}" dt="2023-03-26T04:21:26.310" v="2793" actId="20577"/>
          <ac:spMkLst>
            <pc:docMk/>
            <pc:sldMk cId="412744018" sldId="353"/>
            <ac:spMk id="235" creationId="{00000000-0000-0000-0000-000000000000}"/>
          </ac:spMkLst>
        </pc:spChg>
        <pc:grpChg chg="add del mod">
          <ac:chgData name="Gasteiger, Cassidy M" userId="49e4247d-81de-4625-ae16-f189e0b7e529" providerId="ADAL" clId="{EFB976C6-EC52-4602-90C8-86B8954E5255}" dt="2023-03-30T15:29:29.777" v="23233" actId="478"/>
          <ac:grpSpMkLst>
            <pc:docMk/>
            <pc:sldMk cId="412744018" sldId="353"/>
            <ac:grpSpMk id="4" creationId="{67CAA3B8-5930-35B3-A3E5-40124557C3B6}"/>
          </ac:grpSpMkLst>
        </pc:grpChg>
        <pc:grpChg chg="add mod">
          <ac:chgData name="Gasteiger, Cassidy M" userId="49e4247d-81de-4625-ae16-f189e0b7e529" providerId="ADAL" clId="{EFB976C6-EC52-4602-90C8-86B8954E5255}" dt="2023-03-30T20:24:03.807" v="29550" actId="1076"/>
          <ac:grpSpMkLst>
            <pc:docMk/>
            <pc:sldMk cId="412744018" sldId="353"/>
            <ac:grpSpMk id="7" creationId="{9EF99FE6-C0D1-3AA9-2749-88E57C27FDAE}"/>
          </ac:grpSpMkLst>
        </pc:grpChg>
        <pc:grpChg chg="add mod">
          <ac:chgData name="Gasteiger, Cassidy M" userId="49e4247d-81de-4625-ae16-f189e0b7e529" providerId="ADAL" clId="{EFB976C6-EC52-4602-90C8-86B8954E5255}" dt="2023-03-30T21:52:02.475" v="32176"/>
          <ac:grpSpMkLst>
            <pc:docMk/>
            <pc:sldMk cId="412744018" sldId="353"/>
            <ac:grpSpMk id="12" creationId="{CE53E15B-29A8-8319-E8E6-C128C4EE31C1}"/>
          </ac:grpSpMkLst>
        </pc:grpChg>
        <pc:grpChg chg="add del mod">
          <ac:chgData name="Gasteiger, Cassidy M" userId="49e4247d-81de-4625-ae16-f189e0b7e529" providerId="ADAL" clId="{EFB976C6-EC52-4602-90C8-86B8954E5255}" dt="2023-03-30T21:52:02.031" v="32175" actId="478"/>
          <ac:grpSpMkLst>
            <pc:docMk/>
            <pc:sldMk cId="412744018" sldId="353"/>
            <ac:grpSpMk id="17" creationId="{D9D1614E-FBA4-6EA5-7E4C-B488D787CABE}"/>
          </ac:grpSpMkLst>
        </pc:grpChg>
        <pc:picChg chg="del">
          <ac:chgData name="Gasteiger, Cassidy M" userId="49e4247d-81de-4625-ae16-f189e0b7e529" providerId="ADAL" clId="{EFB976C6-EC52-4602-90C8-86B8954E5255}" dt="2023-03-29T02:56:39.498" v="10846" actId="478"/>
          <ac:picMkLst>
            <pc:docMk/>
            <pc:sldMk cId="412744018" sldId="353"/>
            <ac:picMk id="6" creationId="{86D6DC68-3C4C-3CC9-82A5-63EAC0B7B9D3}"/>
          </ac:picMkLst>
        </pc:picChg>
        <pc:picChg chg="mod">
          <ac:chgData name="Gasteiger, Cassidy M" userId="49e4247d-81de-4625-ae16-f189e0b7e529" providerId="ADAL" clId="{EFB976C6-EC52-4602-90C8-86B8954E5255}" dt="2023-03-29T02:56:40.187" v="10847"/>
          <ac:picMkLst>
            <pc:docMk/>
            <pc:sldMk cId="412744018" sldId="353"/>
            <ac:picMk id="8" creationId="{770E8B63-A998-6699-22DB-186E482CD07D}"/>
          </ac:picMkLst>
        </pc:picChg>
        <pc:picChg chg="add mod">
          <ac:chgData name="Gasteiger, Cassidy M" userId="49e4247d-81de-4625-ae16-f189e0b7e529" providerId="ADAL" clId="{EFB976C6-EC52-4602-90C8-86B8954E5255}" dt="2023-03-30T20:20:32.838" v="29277" actId="164"/>
          <ac:picMkLst>
            <pc:docMk/>
            <pc:sldMk cId="412744018" sldId="353"/>
            <ac:picMk id="10" creationId="{2B21B0BE-E74A-52A4-76B8-0106B5141169}"/>
          </ac:picMkLst>
        </pc:picChg>
        <pc:picChg chg="add del mod">
          <ac:chgData name="Gasteiger, Cassidy M" userId="49e4247d-81de-4625-ae16-f189e0b7e529" providerId="ADAL" clId="{EFB976C6-EC52-4602-90C8-86B8954E5255}" dt="2023-03-30T06:07:37.137" v="20215" actId="478"/>
          <ac:picMkLst>
            <pc:docMk/>
            <pc:sldMk cId="412744018" sldId="353"/>
            <ac:picMk id="12" creationId="{2088FA4B-1A3E-1799-0D74-1E2C46E793EE}"/>
          </ac:picMkLst>
        </pc:picChg>
        <pc:picChg chg="add del mod">
          <ac:chgData name="Gasteiger, Cassidy M" userId="49e4247d-81de-4625-ae16-f189e0b7e529" providerId="ADAL" clId="{EFB976C6-EC52-4602-90C8-86B8954E5255}" dt="2023-03-30T06:07:38.818" v="20217" actId="478"/>
          <ac:picMkLst>
            <pc:docMk/>
            <pc:sldMk cId="412744018" sldId="353"/>
            <ac:picMk id="14" creationId="{1601C338-550B-FFEC-77A5-2A08183AF5B5}"/>
          </ac:picMkLst>
        </pc:picChg>
        <pc:picChg chg="add mod">
          <ac:chgData name="Gasteiger, Cassidy M" userId="49e4247d-81de-4625-ae16-f189e0b7e529" providerId="ADAL" clId="{EFB976C6-EC52-4602-90C8-86B8954E5255}" dt="2023-03-30T20:24:03.807" v="29550" actId="1076"/>
          <ac:picMkLst>
            <pc:docMk/>
            <pc:sldMk cId="412744018" sldId="353"/>
            <ac:picMk id="16" creationId="{364D7318-15C2-CDF8-211F-7D98BB590FBC}"/>
          </ac:picMkLst>
        </pc:picChg>
        <pc:cxnChg chg="add del mod">
          <ac:chgData name="Gasteiger, Cassidy M" userId="49e4247d-81de-4625-ae16-f189e0b7e529" providerId="ADAL" clId="{EFB976C6-EC52-4602-90C8-86B8954E5255}" dt="2023-03-30T20:21:10.429" v="29288" actId="478"/>
          <ac:cxnSpMkLst>
            <pc:docMk/>
            <pc:sldMk cId="412744018" sldId="353"/>
            <ac:cxnSpMk id="6" creationId="{7FEEE2C4-672F-4134-CE17-A3D38BFC2914}"/>
          </ac:cxnSpMkLst>
        </pc:cxnChg>
      </pc:sldChg>
      <pc:sldChg chg="addSp delSp modSp add del mod">
        <pc:chgData name="Gasteiger, Cassidy M" userId="49e4247d-81de-4625-ae16-f189e0b7e529" providerId="ADAL" clId="{EFB976C6-EC52-4602-90C8-86B8954E5255}" dt="2023-03-30T20:24:47.868" v="29559" actId="2696"/>
        <pc:sldMkLst>
          <pc:docMk/>
          <pc:sldMk cId="1806036683" sldId="354"/>
        </pc:sldMkLst>
        <pc:spChg chg="del">
          <ac:chgData name="Gasteiger, Cassidy M" userId="49e4247d-81de-4625-ae16-f189e0b7e529" providerId="ADAL" clId="{EFB976C6-EC52-4602-90C8-86B8954E5255}" dt="2023-03-29T02:56:36.298" v="10845" actId="478"/>
          <ac:spMkLst>
            <pc:docMk/>
            <pc:sldMk cId="1806036683" sldId="354"/>
            <ac:spMk id="2" creationId="{F098E5C7-7B68-DCF9-D4D3-4116DF732764}"/>
          </ac:spMkLst>
        </pc:spChg>
        <pc:spChg chg="mod">
          <ac:chgData name="Gasteiger, Cassidy M" userId="49e4247d-81de-4625-ae16-f189e0b7e529" providerId="ADAL" clId="{EFB976C6-EC52-4602-90C8-86B8954E5255}" dt="2023-03-29T02:56:42.427" v="10848"/>
          <ac:spMkLst>
            <pc:docMk/>
            <pc:sldMk cId="1806036683" sldId="354"/>
            <ac:spMk id="5" creationId="{DB972622-E7F6-B363-7759-D5410916D6B1}"/>
          </ac:spMkLst>
        </pc:spChg>
        <pc:spChg chg="mod">
          <ac:chgData name="Gasteiger, Cassidy M" userId="49e4247d-81de-4625-ae16-f189e0b7e529" providerId="ADAL" clId="{EFB976C6-EC52-4602-90C8-86B8954E5255}" dt="2023-03-26T04:21:04.612" v="2740" actId="20577"/>
          <ac:spMkLst>
            <pc:docMk/>
            <pc:sldMk cId="1806036683" sldId="354"/>
            <ac:spMk id="7" creationId="{EBE908A8-00BF-125C-E586-4C1E0C43EC37}"/>
          </ac:spMkLst>
        </pc:spChg>
        <pc:spChg chg="mod">
          <ac:chgData name="Gasteiger, Cassidy M" userId="49e4247d-81de-4625-ae16-f189e0b7e529" providerId="ADAL" clId="{EFB976C6-EC52-4602-90C8-86B8954E5255}" dt="2023-03-29T02:56:42.427" v="10848"/>
          <ac:spMkLst>
            <pc:docMk/>
            <pc:sldMk cId="1806036683" sldId="354"/>
            <ac:spMk id="9" creationId="{47002823-D09D-A1BF-FB8F-38F1B4E39D58}"/>
          </ac:spMkLst>
        </pc:spChg>
        <pc:spChg chg="mod">
          <ac:chgData name="Gasteiger, Cassidy M" userId="49e4247d-81de-4625-ae16-f189e0b7e529" providerId="ADAL" clId="{EFB976C6-EC52-4602-90C8-86B8954E5255}" dt="2023-03-30T15:44:40.427" v="24162" actId="20577"/>
          <ac:spMkLst>
            <pc:docMk/>
            <pc:sldMk cId="1806036683" sldId="354"/>
            <ac:spMk id="11" creationId="{9A5B244B-97CC-6B91-631D-F94986D286DE}"/>
          </ac:spMkLst>
        </pc:spChg>
        <pc:spChg chg="mod">
          <ac:chgData name="Gasteiger, Cassidy M" userId="49e4247d-81de-4625-ae16-f189e0b7e529" providerId="ADAL" clId="{EFB976C6-EC52-4602-90C8-86B8954E5255}" dt="2023-03-30T15:44:36.561" v="24148"/>
          <ac:spMkLst>
            <pc:docMk/>
            <pc:sldMk cId="1806036683" sldId="354"/>
            <ac:spMk id="12" creationId="{52CD7544-BC3F-9272-DF09-B373D5B45CA6}"/>
          </ac:spMkLst>
        </pc:spChg>
        <pc:spChg chg="mod">
          <ac:chgData name="Gasteiger, Cassidy M" userId="49e4247d-81de-4625-ae16-f189e0b7e529" providerId="ADAL" clId="{EFB976C6-EC52-4602-90C8-86B8954E5255}" dt="2023-03-26T04:21:40.892" v="2832" actId="20577"/>
          <ac:spMkLst>
            <pc:docMk/>
            <pc:sldMk cId="1806036683" sldId="354"/>
            <ac:spMk id="235" creationId="{00000000-0000-0000-0000-000000000000}"/>
          </ac:spMkLst>
        </pc:spChg>
        <pc:grpChg chg="add del mod">
          <ac:chgData name="Gasteiger, Cassidy M" userId="49e4247d-81de-4625-ae16-f189e0b7e529" providerId="ADAL" clId="{EFB976C6-EC52-4602-90C8-86B8954E5255}" dt="2023-03-30T15:44:35.732" v="24147" actId="478"/>
          <ac:grpSpMkLst>
            <pc:docMk/>
            <pc:sldMk cId="1806036683" sldId="354"/>
            <ac:grpSpMk id="4" creationId="{7E34306D-9C31-D0D9-475F-CC57B9C2F95C}"/>
          </ac:grpSpMkLst>
        </pc:grpChg>
        <pc:grpChg chg="add mod">
          <ac:chgData name="Gasteiger, Cassidy M" userId="49e4247d-81de-4625-ae16-f189e0b7e529" providerId="ADAL" clId="{EFB976C6-EC52-4602-90C8-86B8954E5255}" dt="2023-03-30T15:44:36.561" v="24148"/>
          <ac:grpSpMkLst>
            <pc:docMk/>
            <pc:sldMk cId="1806036683" sldId="354"/>
            <ac:grpSpMk id="10" creationId="{03666BD3-CBF7-DDE8-7198-AD915A2549F0}"/>
          </ac:grpSpMkLst>
        </pc:grpChg>
        <pc:picChg chg="del">
          <ac:chgData name="Gasteiger, Cassidy M" userId="49e4247d-81de-4625-ae16-f189e0b7e529" providerId="ADAL" clId="{EFB976C6-EC52-4602-90C8-86B8954E5255}" dt="2023-03-29T02:56:36.298" v="10845" actId="478"/>
          <ac:picMkLst>
            <pc:docMk/>
            <pc:sldMk cId="1806036683" sldId="354"/>
            <ac:picMk id="6" creationId="{86D6DC68-3C4C-3CC9-82A5-63EAC0B7B9D3}"/>
          </ac:picMkLst>
        </pc:picChg>
        <pc:picChg chg="mod">
          <ac:chgData name="Gasteiger, Cassidy M" userId="49e4247d-81de-4625-ae16-f189e0b7e529" providerId="ADAL" clId="{EFB976C6-EC52-4602-90C8-86B8954E5255}" dt="2023-03-29T02:56:42.427" v="10848"/>
          <ac:picMkLst>
            <pc:docMk/>
            <pc:sldMk cId="1806036683" sldId="354"/>
            <ac:picMk id="8" creationId="{FE67A2A0-C478-9399-16A2-013CDD870962}"/>
          </ac:picMkLst>
        </pc:picChg>
      </pc:sldChg>
      <pc:sldChg chg="addSp delSp modSp add mod">
        <pc:chgData name="Gasteiger, Cassidy M" userId="49e4247d-81de-4625-ae16-f189e0b7e529" providerId="ADAL" clId="{EFB976C6-EC52-4602-90C8-86B8954E5255}" dt="2023-03-30T22:28:05.276" v="33012" actId="20577"/>
        <pc:sldMkLst>
          <pc:docMk/>
          <pc:sldMk cId="1273494731" sldId="355"/>
        </pc:sldMkLst>
        <pc:spChg chg="mod">
          <ac:chgData name="Gasteiger, Cassidy M" userId="49e4247d-81de-4625-ae16-f189e0b7e529" providerId="ADAL" clId="{EFB976C6-EC52-4602-90C8-86B8954E5255}" dt="2023-03-26T04:24:42.044" v="2969" actId="207"/>
          <ac:spMkLst>
            <pc:docMk/>
            <pc:sldMk cId="1273494731" sldId="355"/>
            <ac:spMk id="3" creationId="{E9D77BA1-BE21-77AC-DB82-B4745D905D52}"/>
          </ac:spMkLst>
        </pc:spChg>
        <pc:spChg chg="mod">
          <ac:chgData name="Gasteiger, Cassidy M" userId="49e4247d-81de-4625-ae16-f189e0b7e529" providerId="ADAL" clId="{EFB976C6-EC52-4602-90C8-86B8954E5255}" dt="2023-03-26T04:24:45.540" v="2970" actId="207"/>
          <ac:spMkLst>
            <pc:docMk/>
            <pc:sldMk cId="1273494731" sldId="355"/>
            <ac:spMk id="4" creationId="{A4EB89FE-3CD0-B3ED-8458-D0F2FCCE756B}"/>
          </ac:spMkLst>
        </pc:spChg>
        <pc:spChg chg="mod">
          <ac:chgData name="Gasteiger, Cassidy M" userId="49e4247d-81de-4625-ae16-f189e0b7e529" providerId="ADAL" clId="{EFB976C6-EC52-4602-90C8-86B8954E5255}" dt="2023-03-26T04:24:38.371" v="2968" actId="207"/>
          <ac:spMkLst>
            <pc:docMk/>
            <pc:sldMk cId="1273494731" sldId="355"/>
            <ac:spMk id="5" creationId="{DA2A2259-4F4E-26DA-7BDE-F5CD9909E75E}"/>
          </ac:spMkLst>
        </pc:spChg>
        <pc:spChg chg="mod">
          <ac:chgData name="Gasteiger, Cassidy M" userId="49e4247d-81de-4625-ae16-f189e0b7e529" providerId="ADAL" clId="{EFB976C6-EC52-4602-90C8-86B8954E5255}" dt="2023-03-26T04:24:49.683" v="2971" actId="207"/>
          <ac:spMkLst>
            <pc:docMk/>
            <pc:sldMk cId="1273494731" sldId="355"/>
            <ac:spMk id="6" creationId="{0F06F7C8-567A-E4E9-C41B-BA23767024B5}"/>
          </ac:spMkLst>
        </pc:spChg>
        <pc:spChg chg="mod">
          <ac:chgData name="Gasteiger, Cassidy M" userId="49e4247d-81de-4625-ae16-f189e0b7e529" providerId="ADAL" clId="{EFB976C6-EC52-4602-90C8-86B8954E5255}" dt="2023-03-26T04:25:35.812" v="2982" actId="207"/>
          <ac:spMkLst>
            <pc:docMk/>
            <pc:sldMk cId="1273494731" sldId="355"/>
            <ac:spMk id="7" creationId="{54B0EB23-5D84-255B-1028-9B5EAAE24DA4}"/>
          </ac:spMkLst>
        </pc:spChg>
        <pc:spChg chg="mod">
          <ac:chgData name="Gasteiger, Cassidy M" userId="49e4247d-81de-4625-ae16-f189e0b7e529" providerId="ADAL" clId="{EFB976C6-EC52-4602-90C8-86B8954E5255}" dt="2023-03-26T04:25:47.634" v="2985" actId="207"/>
          <ac:spMkLst>
            <pc:docMk/>
            <pc:sldMk cId="1273494731" sldId="355"/>
            <ac:spMk id="8" creationId="{A540E93E-8B22-9A0E-3885-A1987C89DBD7}"/>
          </ac:spMkLst>
        </pc:spChg>
        <pc:spChg chg="mod">
          <ac:chgData name="Gasteiger, Cassidy M" userId="49e4247d-81de-4625-ae16-f189e0b7e529" providerId="ADAL" clId="{EFB976C6-EC52-4602-90C8-86B8954E5255}" dt="2023-03-26T04:25:39.458" v="2983" actId="207"/>
          <ac:spMkLst>
            <pc:docMk/>
            <pc:sldMk cId="1273494731" sldId="355"/>
            <ac:spMk id="9" creationId="{0AF981F2-A335-FB1A-BCAA-7A9D7ECE3E5A}"/>
          </ac:spMkLst>
        </pc:spChg>
        <pc:spChg chg="mod">
          <ac:chgData name="Gasteiger, Cassidy M" userId="49e4247d-81de-4625-ae16-f189e0b7e529" providerId="ADAL" clId="{EFB976C6-EC52-4602-90C8-86B8954E5255}" dt="2023-03-26T04:25:43.646" v="2984" actId="207"/>
          <ac:spMkLst>
            <pc:docMk/>
            <pc:sldMk cId="1273494731" sldId="355"/>
            <ac:spMk id="10" creationId="{2116C77F-781E-809F-A16A-84C83A799442}"/>
          </ac:spMkLst>
        </pc:spChg>
        <pc:spChg chg="add mod">
          <ac:chgData name="Gasteiger, Cassidy M" userId="49e4247d-81de-4625-ae16-f189e0b7e529" providerId="ADAL" clId="{EFB976C6-EC52-4602-90C8-86B8954E5255}" dt="2023-03-30T22:28:00.498" v="33006" actId="1076"/>
          <ac:spMkLst>
            <pc:docMk/>
            <pc:sldMk cId="1273494731" sldId="355"/>
            <ac:spMk id="15" creationId="{683B9263-0112-4976-359B-A68F6D49DEA8}"/>
          </ac:spMkLst>
        </pc:spChg>
        <pc:spChg chg="del">
          <ac:chgData name="Gasteiger, Cassidy M" userId="49e4247d-81de-4625-ae16-f189e0b7e529" providerId="ADAL" clId="{EFB976C6-EC52-4602-90C8-86B8954E5255}" dt="2023-03-30T16:20:20.358" v="25903" actId="478"/>
          <ac:spMkLst>
            <pc:docMk/>
            <pc:sldMk cId="1273494731" sldId="355"/>
            <ac:spMk id="15" creationId="{BA2209B7-8AF5-5557-17B8-3556C02977DF}"/>
          </ac:spMkLst>
        </pc:spChg>
        <pc:spChg chg="mod">
          <ac:chgData name="Gasteiger, Cassidy M" userId="49e4247d-81de-4625-ae16-f189e0b7e529" providerId="ADAL" clId="{EFB976C6-EC52-4602-90C8-86B8954E5255}" dt="2023-03-26T04:23:40.907" v="2935" actId="1035"/>
          <ac:spMkLst>
            <pc:docMk/>
            <pc:sldMk cId="1273494731" sldId="355"/>
            <ac:spMk id="17" creationId="{9B019CAA-CCA3-B713-CC3F-FB187DEAA948}"/>
          </ac:spMkLst>
        </pc:spChg>
        <pc:spChg chg="mod">
          <ac:chgData name="Gasteiger, Cassidy M" userId="49e4247d-81de-4625-ae16-f189e0b7e529" providerId="ADAL" clId="{EFB976C6-EC52-4602-90C8-86B8954E5255}" dt="2023-03-30T20:34:43.694" v="29968" actId="20577"/>
          <ac:spMkLst>
            <pc:docMk/>
            <pc:sldMk cId="1273494731" sldId="355"/>
            <ac:spMk id="18" creationId="{83DE3EEF-E7FC-27FA-93D2-00F81ED3B006}"/>
          </ac:spMkLst>
        </pc:spChg>
        <pc:spChg chg="mod">
          <ac:chgData name="Gasteiger, Cassidy M" userId="49e4247d-81de-4625-ae16-f189e0b7e529" providerId="ADAL" clId="{EFB976C6-EC52-4602-90C8-86B8954E5255}" dt="2023-03-30T20:34:39.270" v="29946"/>
          <ac:spMkLst>
            <pc:docMk/>
            <pc:sldMk cId="1273494731" sldId="355"/>
            <ac:spMk id="19" creationId="{18C54A6F-15DD-C92C-21EB-8EF3C03E263B}"/>
          </ac:spMkLst>
        </pc:spChg>
        <pc:spChg chg="add del mod">
          <ac:chgData name="Gasteiger, Cassidy M" userId="49e4247d-81de-4625-ae16-f189e0b7e529" providerId="ADAL" clId="{EFB976C6-EC52-4602-90C8-86B8954E5255}" dt="2023-03-30T22:27:53.860" v="32998" actId="478"/>
          <ac:spMkLst>
            <pc:docMk/>
            <pc:sldMk cId="1273494731" sldId="355"/>
            <ac:spMk id="20" creationId="{2013457C-A5F8-A301-9596-185B268D0C72}"/>
          </ac:spMkLst>
        </pc:spChg>
        <pc:spChg chg="mod">
          <ac:chgData name="Gasteiger, Cassidy M" userId="49e4247d-81de-4625-ae16-f189e0b7e529" providerId="ADAL" clId="{EFB976C6-EC52-4602-90C8-86B8954E5255}" dt="2023-03-30T22:28:05.276" v="33012" actId="20577"/>
          <ac:spMkLst>
            <pc:docMk/>
            <pc:sldMk cId="1273494731" sldId="355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30T20:34:39.270" v="29946"/>
          <ac:grpSpMkLst>
            <pc:docMk/>
            <pc:sldMk cId="1273494731" sldId="355"/>
            <ac:grpSpMk id="2" creationId="{7CBC3CEC-A865-48B1-7B9C-5C8AAF9D8D73}"/>
          </ac:grpSpMkLst>
        </pc:grpChg>
        <pc:picChg chg="add del mod">
          <ac:chgData name="Gasteiger, Cassidy M" userId="49e4247d-81de-4625-ae16-f189e0b7e529" providerId="ADAL" clId="{EFB976C6-EC52-4602-90C8-86B8954E5255}" dt="2023-03-30T16:20:20.358" v="25903" actId="478"/>
          <ac:picMkLst>
            <pc:docMk/>
            <pc:sldMk cId="1273494731" sldId="355"/>
            <ac:picMk id="16" creationId="{4D651F03-6150-6938-FF30-7F94BE79D3E1}"/>
          </ac:picMkLst>
        </pc:picChg>
        <pc:picChg chg="del">
          <ac:chgData name="Gasteiger, Cassidy M" userId="49e4247d-81de-4625-ae16-f189e0b7e529" providerId="ADAL" clId="{EFB976C6-EC52-4602-90C8-86B8954E5255}" dt="2023-03-26T04:23:41.934" v="2936" actId="478"/>
          <ac:picMkLst>
            <pc:docMk/>
            <pc:sldMk cId="1273494731" sldId="355"/>
            <ac:picMk id="19" creationId="{24BC20AD-59F1-47D8-C1E6-2E071B451FE3}"/>
          </ac:picMkLst>
        </pc:picChg>
        <pc:cxnChg chg="mod">
          <ac:chgData name="Gasteiger, Cassidy M" userId="49e4247d-81de-4625-ae16-f189e0b7e529" providerId="ADAL" clId="{EFB976C6-EC52-4602-90C8-86B8954E5255}" dt="2023-03-26T04:25:01.388" v="2974" actId="208"/>
          <ac:cxnSpMkLst>
            <pc:docMk/>
            <pc:sldMk cId="1273494731" sldId="355"/>
            <ac:cxnSpMk id="11" creationId="{3D2FFE1C-02BD-1F78-97D8-04BBC2D75931}"/>
          </ac:cxnSpMkLst>
        </pc:cxnChg>
        <pc:cxnChg chg="mod">
          <ac:chgData name="Gasteiger, Cassidy M" userId="49e4247d-81de-4625-ae16-f189e0b7e529" providerId="ADAL" clId="{EFB976C6-EC52-4602-90C8-86B8954E5255}" dt="2023-03-26T04:25:14.017" v="2977" actId="208"/>
          <ac:cxnSpMkLst>
            <pc:docMk/>
            <pc:sldMk cId="1273494731" sldId="355"/>
            <ac:cxnSpMk id="12" creationId="{D1E41B09-AD16-6AB0-E718-3AA7C4AE7EE7}"/>
          </ac:cxnSpMkLst>
        </pc:cxnChg>
        <pc:cxnChg chg="mod">
          <ac:chgData name="Gasteiger, Cassidy M" userId="49e4247d-81de-4625-ae16-f189e0b7e529" providerId="ADAL" clId="{EFB976C6-EC52-4602-90C8-86B8954E5255}" dt="2023-03-26T04:25:09.548" v="2976" actId="208"/>
          <ac:cxnSpMkLst>
            <pc:docMk/>
            <pc:sldMk cId="1273494731" sldId="355"/>
            <ac:cxnSpMk id="13" creationId="{9366CA94-19E4-76E6-1A2C-3418B975DFBB}"/>
          </ac:cxnSpMkLst>
        </pc:cxnChg>
        <pc:cxnChg chg="mod">
          <ac:chgData name="Gasteiger, Cassidy M" userId="49e4247d-81de-4625-ae16-f189e0b7e529" providerId="ADAL" clId="{EFB976C6-EC52-4602-90C8-86B8954E5255}" dt="2023-03-26T04:25:05.763" v="2975" actId="208"/>
          <ac:cxnSpMkLst>
            <pc:docMk/>
            <pc:sldMk cId="1273494731" sldId="355"/>
            <ac:cxnSpMk id="14" creationId="{2466EDAD-6898-FB30-FA5E-14FDEC41F62E}"/>
          </ac:cxnSpMkLst>
        </pc:cxnChg>
      </pc:sldChg>
      <pc:sldChg chg="addSp delSp modSp add del mod">
        <pc:chgData name="Gasteiger, Cassidy M" userId="49e4247d-81de-4625-ae16-f189e0b7e529" providerId="ADAL" clId="{EFB976C6-EC52-4602-90C8-86B8954E5255}" dt="2023-03-29T22:01:26.843" v="13721" actId="2696"/>
        <pc:sldMkLst>
          <pc:docMk/>
          <pc:sldMk cId="490666341" sldId="356"/>
        </pc:sldMkLst>
        <pc:spChg chg="del">
          <ac:chgData name="Gasteiger, Cassidy M" userId="49e4247d-81de-4625-ae16-f189e0b7e529" providerId="ADAL" clId="{EFB976C6-EC52-4602-90C8-86B8954E5255}" dt="2023-03-29T02:56:46.007" v="10849" actId="478"/>
          <ac:spMkLst>
            <pc:docMk/>
            <pc:sldMk cId="490666341" sldId="356"/>
            <ac:spMk id="2" creationId="{F098E5C7-7B68-DCF9-D4D3-4116DF732764}"/>
          </ac:spMkLst>
        </pc:spChg>
        <pc:spChg chg="del">
          <ac:chgData name="Gasteiger, Cassidy M" userId="49e4247d-81de-4625-ae16-f189e0b7e529" providerId="ADAL" clId="{EFB976C6-EC52-4602-90C8-86B8954E5255}" dt="2023-03-29T02:56:46.007" v="10849" actId="478"/>
          <ac:spMkLst>
            <pc:docMk/>
            <pc:sldMk cId="490666341" sldId="356"/>
            <ac:spMk id="3" creationId="{147FA591-52E7-09A6-392E-5EED6FBCFEF9}"/>
          </ac:spMkLst>
        </pc:spChg>
        <pc:spChg chg="mod">
          <ac:chgData name="Gasteiger, Cassidy M" userId="49e4247d-81de-4625-ae16-f189e0b7e529" providerId="ADAL" clId="{EFB976C6-EC52-4602-90C8-86B8954E5255}" dt="2023-03-29T02:56:46.747" v="10850"/>
          <ac:spMkLst>
            <pc:docMk/>
            <pc:sldMk cId="490666341" sldId="356"/>
            <ac:spMk id="5" creationId="{C382CECE-911C-FD05-F166-BC3C61505031}"/>
          </ac:spMkLst>
        </pc:spChg>
        <pc:spChg chg="mod">
          <ac:chgData name="Gasteiger, Cassidy M" userId="49e4247d-81de-4625-ae16-f189e0b7e529" providerId="ADAL" clId="{EFB976C6-EC52-4602-90C8-86B8954E5255}" dt="2023-03-26T04:26:29.658" v="3150" actId="20577"/>
          <ac:spMkLst>
            <pc:docMk/>
            <pc:sldMk cId="490666341" sldId="356"/>
            <ac:spMk id="7" creationId="{EBE908A8-00BF-125C-E586-4C1E0C43EC37}"/>
          </ac:spMkLst>
        </pc:spChg>
        <pc:spChg chg="mod">
          <ac:chgData name="Gasteiger, Cassidy M" userId="49e4247d-81de-4625-ae16-f189e0b7e529" providerId="ADAL" clId="{EFB976C6-EC52-4602-90C8-86B8954E5255}" dt="2023-03-29T02:56:46.747" v="10850"/>
          <ac:spMkLst>
            <pc:docMk/>
            <pc:sldMk cId="490666341" sldId="356"/>
            <ac:spMk id="9" creationId="{A4A36584-C28E-9977-D8D5-6E7DD67B7FBD}"/>
          </ac:spMkLst>
        </pc:spChg>
        <pc:grpChg chg="add mod">
          <ac:chgData name="Gasteiger, Cassidy M" userId="49e4247d-81de-4625-ae16-f189e0b7e529" providerId="ADAL" clId="{EFB976C6-EC52-4602-90C8-86B8954E5255}" dt="2023-03-29T02:56:46.747" v="10850"/>
          <ac:grpSpMkLst>
            <pc:docMk/>
            <pc:sldMk cId="490666341" sldId="356"/>
            <ac:grpSpMk id="4" creationId="{4B9AFF71-3EF8-CB99-7DD2-0B62C794DC45}"/>
          </ac:grpSpMkLst>
        </pc:grpChg>
        <pc:picChg chg="del">
          <ac:chgData name="Gasteiger, Cassidy M" userId="49e4247d-81de-4625-ae16-f189e0b7e529" providerId="ADAL" clId="{EFB976C6-EC52-4602-90C8-86B8954E5255}" dt="2023-03-29T02:56:46.007" v="10849" actId="478"/>
          <ac:picMkLst>
            <pc:docMk/>
            <pc:sldMk cId="490666341" sldId="356"/>
            <ac:picMk id="6" creationId="{86D6DC68-3C4C-3CC9-82A5-63EAC0B7B9D3}"/>
          </ac:picMkLst>
        </pc:picChg>
        <pc:picChg chg="mod">
          <ac:chgData name="Gasteiger, Cassidy M" userId="49e4247d-81de-4625-ae16-f189e0b7e529" providerId="ADAL" clId="{EFB976C6-EC52-4602-90C8-86B8954E5255}" dt="2023-03-29T02:56:46.747" v="10850"/>
          <ac:picMkLst>
            <pc:docMk/>
            <pc:sldMk cId="490666341" sldId="356"/>
            <ac:picMk id="8" creationId="{C645D023-49BE-B8E2-EE5F-5E6D715E16A4}"/>
          </ac:picMkLst>
        </pc:picChg>
      </pc:sldChg>
      <pc:sldChg chg="addSp delSp modSp add del mod">
        <pc:chgData name="Gasteiger, Cassidy M" userId="49e4247d-81de-4625-ae16-f189e0b7e529" providerId="ADAL" clId="{EFB976C6-EC52-4602-90C8-86B8954E5255}" dt="2023-03-29T22:01:37.567" v="13722" actId="2696"/>
        <pc:sldMkLst>
          <pc:docMk/>
          <pc:sldMk cId="2909274357" sldId="357"/>
        </pc:sldMkLst>
        <pc:spChg chg="del">
          <ac:chgData name="Gasteiger, Cassidy M" userId="49e4247d-81de-4625-ae16-f189e0b7e529" providerId="ADAL" clId="{EFB976C6-EC52-4602-90C8-86B8954E5255}" dt="2023-03-29T02:56:17.617" v="10841" actId="478"/>
          <ac:spMkLst>
            <pc:docMk/>
            <pc:sldMk cId="2909274357" sldId="357"/>
            <ac:spMk id="2" creationId="{F098E5C7-7B68-DCF9-D4D3-4116DF732764}"/>
          </ac:spMkLst>
        </pc:spChg>
        <pc:spChg chg="del">
          <ac:chgData name="Gasteiger, Cassidy M" userId="49e4247d-81de-4625-ae16-f189e0b7e529" providerId="ADAL" clId="{EFB976C6-EC52-4602-90C8-86B8954E5255}" dt="2023-03-29T02:56:17.617" v="10841" actId="478"/>
          <ac:spMkLst>
            <pc:docMk/>
            <pc:sldMk cId="2909274357" sldId="357"/>
            <ac:spMk id="3" creationId="{147FA591-52E7-09A6-392E-5EED6FBCFEF9}"/>
          </ac:spMkLst>
        </pc:spChg>
        <pc:spChg chg="add mod">
          <ac:chgData name="Gasteiger, Cassidy M" userId="49e4247d-81de-4625-ae16-f189e0b7e529" providerId="ADAL" clId="{EFB976C6-EC52-4602-90C8-86B8954E5255}" dt="2023-03-29T02:56:31.687" v="10844" actId="164"/>
          <ac:spMkLst>
            <pc:docMk/>
            <pc:sldMk cId="2909274357" sldId="357"/>
            <ac:spMk id="4" creationId="{59905B32-25BC-1D86-D15A-8DE84D8D5A3F}"/>
          </ac:spMkLst>
        </pc:spChg>
        <pc:spChg chg="mod">
          <ac:chgData name="Gasteiger, Cassidy M" userId="49e4247d-81de-4625-ae16-f189e0b7e529" providerId="ADAL" clId="{EFB976C6-EC52-4602-90C8-86B8954E5255}" dt="2023-03-26T04:26:58.455" v="3225" actId="20577"/>
          <ac:spMkLst>
            <pc:docMk/>
            <pc:sldMk cId="2909274357" sldId="357"/>
            <ac:spMk id="7" creationId="{EBE908A8-00BF-125C-E586-4C1E0C43EC37}"/>
          </ac:spMkLst>
        </pc:spChg>
        <pc:spChg chg="add mod">
          <ac:chgData name="Gasteiger, Cassidy M" userId="49e4247d-81de-4625-ae16-f189e0b7e529" providerId="ADAL" clId="{EFB976C6-EC52-4602-90C8-86B8954E5255}" dt="2023-03-29T02:56:31.687" v="10844" actId="164"/>
          <ac:spMkLst>
            <pc:docMk/>
            <pc:sldMk cId="2909274357" sldId="357"/>
            <ac:spMk id="8" creationId="{8A1E10BA-F86E-1EC5-3625-B44A184353E4}"/>
          </ac:spMkLst>
        </pc:spChg>
        <pc:grpChg chg="add mod">
          <ac:chgData name="Gasteiger, Cassidy M" userId="49e4247d-81de-4625-ae16-f189e0b7e529" providerId="ADAL" clId="{EFB976C6-EC52-4602-90C8-86B8954E5255}" dt="2023-03-29T02:56:31.687" v="10844" actId="164"/>
          <ac:grpSpMkLst>
            <pc:docMk/>
            <pc:sldMk cId="2909274357" sldId="357"/>
            <ac:grpSpMk id="9" creationId="{2633C143-95B4-CE8D-01D1-7CE01FD7318E}"/>
          </ac:grpSpMkLst>
        </pc:grpChg>
        <pc:picChg chg="add mod">
          <ac:chgData name="Gasteiger, Cassidy M" userId="49e4247d-81de-4625-ae16-f189e0b7e529" providerId="ADAL" clId="{EFB976C6-EC52-4602-90C8-86B8954E5255}" dt="2023-03-29T02:56:31.687" v="10844" actId="164"/>
          <ac:picMkLst>
            <pc:docMk/>
            <pc:sldMk cId="2909274357" sldId="357"/>
            <ac:picMk id="5" creationId="{DAB9EB5A-6343-BE7A-2EA7-CF93CB0A0400}"/>
          </ac:picMkLst>
        </pc:picChg>
        <pc:picChg chg="del">
          <ac:chgData name="Gasteiger, Cassidy M" userId="49e4247d-81de-4625-ae16-f189e0b7e529" providerId="ADAL" clId="{EFB976C6-EC52-4602-90C8-86B8954E5255}" dt="2023-03-29T02:56:17.617" v="10841" actId="478"/>
          <ac:picMkLst>
            <pc:docMk/>
            <pc:sldMk cId="2909274357" sldId="357"/>
            <ac:picMk id="6" creationId="{86D6DC68-3C4C-3CC9-82A5-63EAC0B7B9D3}"/>
          </ac:picMkLst>
        </pc:picChg>
      </pc:sldChg>
      <pc:sldChg chg="addSp delSp modSp add mod ord">
        <pc:chgData name="Gasteiger, Cassidy M" userId="49e4247d-81de-4625-ae16-f189e0b7e529" providerId="ADAL" clId="{EFB976C6-EC52-4602-90C8-86B8954E5255}" dt="2023-03-30T22:26:29.761" v="32929"/>
        <pc:sldMkLst>
          <pc:docMk/>
          <pc:sldMk cId="1347338225" sldId="358"/>
        </pc:sldMkLst>
        <pc:spChg chg="add mod topLvl">
          <ac:chgData name="Gasteiger, Cassidy M" userId="49e4247d-81de-4625-ae16-f189e0b7e529" providerId="ADAL" clId="{EFB976C6-EC52-4602-90C8-86B8954E5255}" dt="2023-03-30T20:49:46.341" v="30191" actId="20577"/>
          <ac:spMkLst>
            <pc:docMk/>
            <pc:sldMk cId="1347338225" sldId="358"/>
            <ac:spMk id="2" creationId="{4AD07A21-19AE-AC54-F852-23B8BF98199A}"/>
          </ac:spMkLst>
        </pc:spChg>
        <pc:spChg chg="mod">
          <ac:chgData name="Gasteiger, Cassidy M" userId="49e4247d-81de-4625-ae16-f189e0b7e529" providerId="ADAL" clId="{EFB976C6-EC52-4602-90C8-86B8954E5255}" dt="2023-03-30T22:26:29.761" v="32929"/>
          <ac:spMkLst>
            <pc:docMk/>
            <pc:sldMk cId="1347338225" sldId="358"/>
            <ac:spMk id="4" creationId="{417824FB-486B-5357-EE4D-2BEF305A95EF}"/>
          </ac:spMkLst>
        </pc:spChg>
        <pc:spChg chg="mod">
          <ac:chgData name="Gasteiger, Cassidy M" userId="49e4247d-81de-4625-ae16-f189e0b7e529" providerId="ADAL" clId="{EFB976C6-EC52-4602-90C8-86B8954E5255}" dt="2023-03-30T03:00:26.572" v="15040" actId="165"/>
          <ac:spMkLst>
            <pc:docMk/>
            <pc:sldMk cId="1347338225" sldId="358"/>
            <ac:spMk id="4" creationId="{FDC466D9-DA7C-F8D6-DC63-28545A3E8426}"/>
          </ac:spMkLst>
        </pc:spChg>
        <pc:spChg chg="mod">
          <ac:chgData name="Gasteiger, Cassidy M" userId="49e4247d-81de-4625-ae16-f189e0b7e529" providerId="ADAL" clId="{EFB976C6-EC52-4602-90C8-86B8954E5255}" dt="2023-03-30T22:26:29.761" v="32929"/>
          <ac:spMkLst>
            <pc:docMk/>
            <pc:sldMk cId="1347338225" sldId="358"/>
            <ac:spMk id="5" creationId="{0B2DA45E-2117-64C2-39EE-BA6FB6313FEA}"/>
          </ac:spMkLst>
        </pc:spChg>
        <pc:spChg chg="mod">
          <ac:chgData name="Gasteiger, Cassidy M" userId="49e4247d-81de-4625-ae16-f189e0b7e529" providerId="ADAL" clId="{EFB976C6-EC52-4602-90C8-86B8954E5255}" dt="2023-03-30T03:00:26.572" v="15040" actId="165"/>
          <ac:spMkLst>
            <pc:docMk/>
            <pc:sldMk cId="1347338225" sldId="358"/>
            <ac:spMk id="5" creationId="{150C8732-D33B-77C9-F83B-94671FC7DAB3}"/>
          </ac:spMkLst>
        </pc:spChg>
        <pc:spChg chg="mod">
          <ac:chgData name="Gasteiger, Cassidy M" userId="49e4247d-81de-4625-ae16-f189e0b7e529" providerId="ADAL" clId="{EFB976C6-EC52-4602-90C8-86B8954E5255}" dt="2023-03-30T03:00:26.572" v="15040" actId="165"/>
          <ac:spMkLst>
            <pc:docMk/>
            <pc:sldMk cId="1347338225" sldId="358"/>
            <ac:spMk id="6" creationId="{127BEAFE-5EB6-0014-9C29-1D551F61E718}"/>
          </ac:spMkLst>
        </pc:spChg>
        <pc:spChg chg="add del mod topLvl">
          <ac:chgData name="Gasteiger, Cassidy M" userId="49e4247d-81de-4625-ae16-f189e0b7e529" providerId="ADAL" clId="{EFB976C6-EC52-4602-90C8-86B8954E5255}" dt="2023-03-30T03:01:17.314" v="15049" actId="478"/>
          <ac:spMkLst>
            <pc:docMk/>
            <pc:sldMk cId="1347338225" sldId="358"/>
            <ac:spMk id="7" creationId="{2782304B-A243-0305-D342-1253CBB93422}"/>
          </ac:spMkLst>
        </pc:spChg>
        <pc:spChg chg="mod">
          <ac:chgData name="Gasteiger, Cassidy M" userId="49e4247d-81de-4625-ae16-f189e0b7e529" providerId="ADAL" clId="{EFB976C6-EC52-4602-90C8-86B8954E5255}" dt="2023-03-30T15:46:39.761" v="24272" actId="14100"/>
          <ac:spMkLst>
            <pc:docMk/>
            <pc:sldMk cId="1347338225" sldId="358"/>
            <ac:spMk id="9" creationId="{4462DE61-36B9-D6F0-B717-231041F0E0B2}"/>
          </ac:spMkLst>
        </pc:spChg>
        <pc:spChg chg="mod">
          <ac:chgData name="Gasteiger, Cassidy M" userId="49e4247d-81de-4625-ae16-f189e0b7e529" providerId="ADAL" clId="{EFB976C6-EC52-4602-90C8-86B8954E5255}" dt="2023-03-30T04:30:40.464" v="17084" actId="20577"/>
          <ac:spMkLst>
            <pc:docMk/>
            <pc:sldMk cId="1347338225" sldId="358"/>
            <ac:spMk id="10" creationId="{F0027063-E34A-AD5F-90E7-2BDECC989A87}"/>
          </ac:spMkLst>
        </pc:spChg>
        <pc:spChg chg="add del mod topLvl">
          <ac:chgData name="Gasteiger, Cassidy M" userId="49e4247d-81de-4625-ae16-f189e0b7e529" providerId="ADAL" clId="{EFB976C6-EC52-4602-90C8-86B8954E5255}" dt="2023-03-30T16:18:53.708" v="25888" actId="478"/>
          <ac:spMkLst>
            <pc:docMk/>
            <pc:sldMk cId="1347338225" sldId="358"/>
            <ac:spMk id="11" creationId="{87B731F6-F94B-BA2C-7EC1-3A8E648DC974}"/>
          </ac:spMkLst>
        </pc:spChg>
        <pc:spChg chg="del">
          <ac:chgData name="Gasteiger, Cassidy M" userId="49e4247d-81de-4625-ae16-f189e0b7e529" providerId="ADAL" clId="{EFB976C6-EC52-4602-90C8-86B8954E5255}" dt="2023-03-30T16:20:07.377" v="25900" actId="478"/>
          <ac:spMkLst>
            <pc:docMk/>
            <pc:sldMk cId="1347338225" sldId="358"/>
            <ac:spMk id="15" creationId="{BA2209B7-8AF5-5557-17B8-3556C02977DF}"/>
          </ac:spMkLst>
        </pc:spChg>
        <pc:spChg chg="mod">
          <ac:chgData name="Gasteiger, Cassidy M" userId="49e4247d-81de-4625-ae16-f189e0b7e529" providerId="ADAL" clId="{EFB976C6-EC52-4602-90C8-86B8954E5255}" dt="2023-03-30T03:00:26.572" v="15040" actId="165"/>
          <ac:spMkLst>
            <pc:docMk/>
            <pc:sldMk cId="1347338225" sldId="358"/>
            <ac:spMk id="16" creationId="{8C606146-6CFF-A35B-D663-30314DBAD985}"/>
          </ac:spMkLst>
        </pc:spChg>
        <pc:spChg chg="mod">
          <ac:chgData name="Gasteiger, Cassidy M" userId="49e4247d-81de-4625-ae16-f189e0b7e529" providerId="ADAL" clId="{EFB976C6-EC52-4602-90C8-86B8954E5255}" dt="2023-03-30T03:00:26.572" v="15040" actId="165"/>
          <ac:spMkLst>
            <pc:docMk/>
            <pc:sldMk cId="1347338225" sldId="358"/>
            <ac:spMk id="18" creationId="{BB953220-4F30-5E8C-1B63-E3EBD8A84449}"/>
          </ac:spMkLst>
        </pc:spChg>
        <pc:spChg chg="add mod">
          <ac:chgData name="Gasteiger, Cassidy M" userId="49e4247d-81de-4625-ae16-f189e0b7e529" providerId="ADAL" clId="{EFB976C6-EC52-4602-90C8-86B8954E5255}" dt="2023-03-30T03:01:20.770" v="15051" actId="1076"/>
          <ac:spMkLst>
            <pc:docMk/>
            <pc:sldMk cId="1347338225" sldId="358"/>
            <ac:spMk id="21" creationId="{C1B93E74-00C2-0739-DFAA-04BE1D555011}"/>
          </ac:spMkLst>
        </pc:spChg>
        <pc:spChg chg="mod">
          <ac:chgData name="Gasteiger, Cassidy M" userId="49e4247d-81de-4625-ae16-f189e0b7e529" providerId="ADAL" clId="{EFB976C6-EC52-4602-90C8-86B8954E5255}" dt="2023-03-30T03:01:17.873" v="15050"/>
          <ac:spMkLst>
            <pc:docMk/>
            <pc:sldMk cId="1347338225" sldId="358"/>
            <ac:spMk id="23" creationId="{031203D0-9EDC-35EE-20B6-C3D84EB728E1}"/>
          </ac:spMkLst>
        </pc:spChg>
        <pc:spChg chg="mod">
          <ac:chgData name="Gasteiger, Cassidy M" userId="49e4247d-81de-4625-ae16-f189e0b7e529" providerId="ADAL" clId="{EFB976C6-EC52-4602-90C8-86B8954E5255}" dt="2023-03-30T16:18:24.391" v="25884" actId="20577"/>
          <ac:spMkLst>
            <pc:docMk/>
            <pc:sldMk cId="1347338225" sldId="358"/>
            <ac:spMk id="24" creationId="{E19A4AC8-24E0-ED02-2D4A-93B76E595EC4}"/>
          </ac:spMkLst>
        </pc:spChg>
        <pc:spChg chg="add mod">
          <ac:chgData name="Gasteiger, Cassidy M" userId="49e4247d-81de-4625-ae16-f189e0b7e529" providerId="ADAL" clId="{EFB976C6-EC52-4602-90C8-86B8954E5255}" dt="2023-03-30T03:01:20.770" v="15051" actId="1076"/>
          <ac:spMkLst>
            <pc:docMk/>
            <pc:sldMk cId="1347338225" sldId="358"/>
            <ac:spMk id="25" creationId="{D27C5A1B-43D0-ACF2-5BAB-68CBB60723F7}"/>
          </ac:spMkLst>
        </pc:spChg>
        <pc:spChg chg="mod">
          <ac:chgData name="Gasteiger, Cassidy M" userId="49e4247d-81de-4625-ae16-f189e0b7e529" providerId="ADAL" clId="{EFB976C6-EC52-4602-90C8-86B8954E5255}" dt="2023-03-30T02:59:20.244" v="15032" actId="20577"/>
          <ac:spMkLst>
            <pc:docMk/>
            <pc:sldMk cId="1347338225" sldId="358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30T22:26:29.761" v="32929"/>
          <ac:grpSpMkLst>
            <pc:docMk/>
            <pc:sldMk cId="1347338225" sldId="358"/>
            <ac:grpSpMk id="3" creationId="{8007B722-32E7-A4E5-0BEC-A896DC0A4274}"/>
          </ac:grpSpMkLst>
        </pc:grpChg>
        <pc:grpChg chg="add del mod topLvl">
          <ac:chgData name="Gasteiger, Cassidy M" userId="49e4247d-81de-4625-ae16-f189e0b7e529" providerId="ADAL" clId="{EFB976C6-EC52-4602-90C8-86B8954E5255}" dt="2023-03-30T03:01:15.492" v="15048" actId="478"/>
          <ac:grpSpMkLst>
            <pc:docMk/>
            <pc:sldMk cId="1347338225" sldId="358"/>
            <ac:grpSpMk id="3" creationId="{A8D0D97D-1ACF-77A1-14F2-24D3350FCB7A}"/>
          </ac:grpSpMkLst>
        </pc:grpChg>
        <pc:grpChg chg="add mod topLvl">
          <ac:chgData name="Gasteiger, Cassidy M" userId="49e4247d-81de-4625-ae16-f189e0b7e529" providerId="ADAL" clId="{EFB976C6-EC52-4602-90C8-86B8954E5255}" dt="2023-03-30T20:45:49.554" v="30050" actId="1076"/>
          <ac:grpSpMkLst>
            <pc:docMk/>
            <pc:sldMk cId="1347338225" sldId="358"/>
            <ac:grpSpMk id="8" creationId="{765E6E38-2C5A-E38E-A449-4B1F06C0BDE2}"/>
          </ac:grpSpMkLst>
        </pc:grpChg>
        <pc:grpChg chg="add del mod topLvl">
          <ac:chgData name="Gasteiger, Cassidy M" userId="49e4247d-81de-4625-ae16-f189e0b7e529" providerId="ADAL" clId="{EFB976C6-EC52-4602-90C8-86B8954E5255}" dt="2023-03-30T20:45:43.035" v="30049" actId="478"/>
          <ac:grpSpMkLst>
            <pc:docMk/>
            <pc:sldMk cId="1347338225" sldId="358"/>
            <ac:grpSpMk id="12" creationId="{F32DD920-9435-6AE0-7E3B-B866A8093133}"/>
          </ac:grpSpMkLst>
        </pc:grpChg>
        <pc:grpChg chg="mod">
          <ac:chgData name="Gasteiger, Cassidy M" userId="49e4247d-81de-4625-ae16-f189e0b7e529" providerId="ADAL" clId="{EFB976C6-EC52-4602-90C8-86B8954E5255}" dt="2023-03-30T03:00:26.572" v="15040" actId="165"/>
          <ac:grpSpMkLst>
            <pc:docMk/>
            <pc:sldMk cId="1347338225" sldId="358"/>
            <ac:grpSpMk id="13" creationId="{F8FAB2ED-3700-E178-AD25-ED522495E950}"/>
          </ac:grpSpMkLst>
        </pc:grpChg>
        <pc:grpChg chg="add del mod">
          <ac:chgData name="Gasteiger, Cassidy M" userId="49e4247d-81de-4625-ae16-f189e0b7e529" providerId="ADAL" clId="{EFB976C6-EC52-4602-90C8-86B8954E5255}" dt="2023-03-30T03:00:26.572" v="15040" actId="165"/>
          <ac:grpSpMkLst>
            <pc:docMk/>
            <pc:sldMk cId="1347338225" sldId="358"/>
            <ac:grpSpMk id="20" creationId="{D1842134-BCFD-03F7-828F-0015BC42D010}"/>
          </ac:grpSpMkLst>
        </pc:grpChg>
        <pc:grpChg chg="add mod">
          <ac:chgData name="Gasteiger, Cassidy M" userId="49e4247d-81de-4625-ae16-f189e0b7e529" providerId="ADAL" clId="{EFB976C6-EC52-4602-90C8-86B8954E5255}" dt="2023-03-30T03:01:20.770" v="15051" actId="1076"/>
          <ac:grpSpMkLst>
            <pc:docMk/>
            <pc:sldMk cId="1347338225" sldId="358"/>
            <ac:grpSpMk id="22" creationId="{3986D204-3F42-DA97-F234-E2F00CC69418}"/>
          </ac:grpSpMkLst>
        </pc:grpChg>
        <pc:picChg chg="mod">
          <ac:chgData name="Gasteiger, Cassidy M" userId="49e4247d-81de-4625-ae16-f189e0b7e529" providerId="ADAL" clId="{EFB976C6-EC52-4602-90C8-86B8954E5255}" dt="2023-03-30T03:00:26.572" v="15040" actId="165"/>
          <ac:picMkLst>
            <pc:docMk/>
            <pc:sldMk cId="1347338225" sldId="358"/>
            <ac:picMk id="14" creationId="{2A5A672B-EBA6-C27F-8740-8A4DA87E277F}"/>
          </ac:picMkLst>
        </pc:picChg>
        <pc:picChg chg="del">
          <ac:chgData name="Gasteiger, Cassidy M" userId="49e4247d-81de-4625-ae16-f189e0b7e529" providerId="ADAL" clId="{EFB976C6-EC52-4602-90C8-86B8954E5255}" dt="2023-03-30T16:20:07.377" v="25900" actId="478"/>
          <ac:picMkLst>
            <pc:docMk/>
            <pc:sldMk cId="1347338225" sldId="358"/>
            <ac:picMk id="19" creationId="{24BC20AD-59F1-47D8-C1E6-2E071B451FE3}"/>
          </ac:picMkLst>
        </pc:picChg>
        <pc:picChg chg="add mod">
          <ac:chgData name="Gasteiger, Cassidy M" userId="49e4247d-81de-4625-ae16-f189e0b7e529" providerId="ADAL" clId="{EFB976C6-EC52-4602-90C8-86B8954E5255}" dt="2023-03-30T03:01:20.770" v="15051" actId="1076"/>
          <ac:picMkLst>
            <pc:docMk/>
            <pc:sldMk cId="1347338225" sldId="358"/>
            <ac:picMk id="26" creationId="{680473D5-5C4E-5759-95FA-6DF84E0F2509}"/>
          </ac:picMkLst>
        </pc:picChg>
      </pc:sldChg>
      <pc:sldChg chg="addSp delSp modSp add del mod ord">
        <pc:chgData name="Gasteiger, Cassidy M" userId="49e4247d-81de-4625-ae16-f189e0b7e529" providerId="ADAL" clId="{EFB976C6-EC52-4602-90C8-86B8954E5255}" dt="2023-03-31T03:39:36.176" v="41651" actId="2696"/>
        <pc:sldMkLst>
          <pc:docMk/>
          <pc:sldMk cId="3056861955" sldId="359"/>
        </pc:sldMkLst>
        <pc:spChg chg="add del mod">
          <ac:chgData name="Gasteiger, Cassidy M" userId="49e4247d-81de-4625-ae16-f189e0b7e529" providerId="ADAL" clId="{EFB976C6-EC52-4602-90C8-86B8954E5255}" dt="2023-03-30T21:16:16.357" v="30731" actId="478"/>
          <ac:spMkLst>
            <pc:docMk/>
            <pc:sldMk cId="3056861955" sldId="359"/>
            <ac:spMk id="2" creationId="{4897761A-592A-26FE-3C3F-6622FD6F4F49}"/>
          </ac:spMkLst>
        </pc:spChg>
        <pc:spChg chg="add del mod">
          <ac:chgData name="Gasteiger, Cassidy M" userId="49e4247d-81de-4625-ae16-f189e0b7e529" providerId="ADAL" clId="{EFB976C6-EC52-4602-90C8-86B8954E5255}" dt="2023-03-31T01:45:39.906" v="36325" actId="478"/>
          <ac:spMkLst>
            <pc:docMk/>
            <pc:sldMk cId="3056861955" sldId="359"/>
            <ac:spMk id="2" creationId="{61A71863-BDC7-11D7-23F4-8C2F588D1392}"/>
          </ac:spMkLst>
        </pc:spChg>
        <pc:spChg chg="add mod">
          <ac:chgData name="Gasteiger, Cassidy M" userId="49e4247d-81de-4625-ae16-f189e0b7e529" providerId="ADAL" clId="{EFB976C6-EC52-4602-90C8-86B8954E5255}" dt="2023-03-31T02:49:53.061" v="41046" actId="20577"/>
          <ac:spMkLst>
            <pc:docMk/>
            <pc:sldMk cId="3056861955" sldId="359"/>
            <ac:spMk id="3" creationId="{95AF8C3A-11C3-3B9E-0805-D28C0AE368A5}"/>
          </ac:spMkLst>
        </pc:spChg>
        <pc:spChg chg="add mod">
          <ac:chgData name="Gasteiger, Cassidy M" userId="49e4247d-81de-4625-ae16-f189e0b7e529" providerId="ADAL" clId="{EFB976C6-EC52-4602-90C8-86B8954E5255}" dt="2023-03-30T21:19:56.817" v="30953" actId="1036"/>
          <ac:spMkLst>
            <pc:docMk/>
            <pc:sldMk cId="3056861955" sldId="359"/>
            <ac:spMk id="4" creationId="{3BF3291A-43DE-7505-4009-62D862237EC9}"/>
          </ac:spMkLst>
        </pc:spChg>
        <pc:spChg chg="add mod topLvl">
          <ac:chgData name="Gasteiger, Cassidy M" userId="49e4247d-81de-4625-ae16-f189e0b7e529" providerId="ADAL" clId="{EFB976C6-EC52-4602-90C8-86B8954E5255}" dt="2023-03-30T05:41:39.544" v="19864" actId="164"/>
          <ac:spMkLst>
            <pc:docMk/>
            <pc:sldMk cId="3056861955" sldId="359"/>
            <ac:spMk id="5" creationId="{A877E2BB-68F3-C7BD-7590-C08D0E3EAF0C}"/>
          </ac:spMkLst>
        </pc:spChg>
        <pc:spChg chg="add mod topLvl">
          <ac:chgData name="Gasteiger, Cassidy M" userId="49e4247d-81de-4625-ae16-f189e0b7e529" providerId="ADAL" clId="{EFB976C6-EC52-4602-90C8-86B8954E5255}" dt="2023-03-30T05:41:39.544" v="19864" actId="164"/>
          <ac:spMkLst>
            <pc:docMk/>
            <pc:sldMk cId="3056861955" sldId="359"/>
            <ac:spMk id="6" creationId="{8F501B64-B4AE-E589-BAAF-3026ED6C6DF8}"/>
          </ac:spMkLst>
        </pc:spChg>
        <pc:spChg chg="add mod topLvl">
          <ac:chgData name="Gasteiger, Cassidy M" userId="49e4247d-81de-4625-ae16-f189e0b7e529" providerId="ADAL" clId="{EFB976C6-EC52-4602-90C8-86B8954E5255}" dt="2023-03-30T05:41:39.544" v="19864" actId="164"/>
          <ac:spMkLst>
            <pc:docMk/>
            <pc:sldMk cId="3056861955" sldId="359"/>
            <ac:spMk id="7" creationId="{1BB9726F-4C56-B0B0-BCF7-BA0F23006BDD}"/>
          </ac:spMkLst>
        </pc:spChg>
        <pc:spChg chg="add mod">
          <ac:chgData name="Gasteiger, Cassidy M" userId="49e4247d-81de-4625-ae16-f189e0b7e529" providerId="ADAL" clId="{EFB976C6-EC52-4602-90C8-86B8954E5255}" dt="2023-03-31T02:53:36.329" v="41168" actId="20577"/>
          <ac:spMkLst>
            <pc:docMk/>
            <pc:sldMk cId="3056861955" sldId="359"/>
            <ac:spMk id="8" creationId="{6310A3AA-65E6-173D-8E86-37E4501B360B}"/>
          </ac:spMkLst>
        </pc:spChg>
        <pc:spChg chg="add mod">
          <ac:chgData name="Gasteiger, Cassidy M" userId="49e4247d-81de-4625-ae16-f189e0b7e529" providerId="ADAL" clId="{EFB976C6-EC52-4602-90C8-86B8954E5255}" dt="2023-03-30T21:22:30.635" v="31333" actId="20577"/>
          <ac:spMkLst>
            <pc:docMk/>
            <pc:sldMk cId="3056861955" sldId="359"/>
            <ac:spMk id="9" creationId="{CBF85941-E9B0-D902-FC35-F729E60068F6}"/>
          </ac:spMkLst>
        </pc:spChg>
        <pc:spChg chg="add mod">
          <ac:chgData name="Gasteiger, Cassidy M" userId="49e4247d-81de-4625-ae16-f189e0b7e529" providerId="ADAL" clId="{EFB976C6-EC52-4602-90C8-86B8954E5255}" dt="2023-03-31T01:49:40.646" v="37054" actId="1076"/>
          <ac:spMkLst>
            <pc:docMk/>
            <pc:sldMk cId="3056861955" sldId="359"/>
            <ac:spMk id="11" creationId="{17B21EF2-62B7-9F19-7C0C-0ABA533C8CC8}"/>
          </ac:spMkLst>
        </pc:spChg>
        <pc:spChg chg="add del mod">
          <ac:chgData name="Gasteiger, Cassidy M" userId="49e4247d-81de-4625-ae16-f189e0b7e529" providerId="ADAL" clId="{EFB976C6-EC52-4602-90C8-86B8954E5255}" dt="2023-03-30T05:41:21.858" v="19856" actId="478"/>
          <ac:spMkLst>
            <pc:docMk/>
            <pc:sldMk cId="3056861955" sldId="359"/>
            <ac:spMk id="13" creationId="{16A63035-C0AC-7B45-5C85-46BF4469EBCD}"/>
          </ac:spMkLst>
        </pc:spChg>
        <pc:spChg chg="mod">
          <ac:chgData name="Gasteiger, Cassidy M" userId="49e4247d-81de-4625-ae16-f189e0b7e529" providerId="ADAL" clId="{EFB976C6-EC52-4602-90C8-86B8954E5255}" dt="2023-03-30T22:26:26.218" v="32928"/>
          <ac:spMkLst>
            <pc:docMk/>
            <pc:sldMk cId="3056861955" sldId="359"/>
            <ac:spMk id="14" creationId="{F36954D4-98D4-2979-E344-82BC494AF488}"/>
          </ac:spMkLst>
        </pc:spChg>
        <pc:spChg chg="add del mod">
          <ac:chgData name="Gasteiger, Cassidy M" userId="49e4247d-81de-4625-ae16-f189e0b7e529" providerId="ADAL" clId="{EFB976C6-EC52-4602-90C8-86B8954E5255}" dt="2023-03-30T20:56:03.896" v="30348" actId="478"/>
          <ac:spMkLst>
            <pc:docMk/>
            <pc:sldMk cId="3056861955" sldId="359"/>
            <ac:spMk id="14" creationId="{FBFB5E00-E76A-026E-E0F4-870B5C90E06E}"/>
          </ac:spMkLst>
        </pc:spChg>
        <pc:spChg chg="mod">
          <ac:chgData name="Gasteiger, Cassidy M" userId="49e4247d-81de-4625-ae16-f189e0b7e529" providerId="ADAL" clId="{EFB976C6-EC52-4602-90C8-86B8954E5255}" dt="2023-03-30T22:26:26.218" v="32928"/>
          <ac:spMkLst>
            <pc:docMk/>
            <pc:sldMk cId="3056861955" sldId="359"/>
            <ac:spMk id="15" creationId="{30EA51CE-3848-3797-A42A-B94D0E7F8AC7}"/>
          </ac:spMkLst>
        </pc:spChg>
        <pc:spChg chg="del">
          <ac:chgData name="Gasteiger, Cassidy M" userId="49e4247d-81de-4625-ae16-f189e0b7e529" providerId="ADAL" clId="{EFB976C6-EC52-4602-90C8-86B8954E5255}" dt="2023-03-30T15:44:25.094" v="24131" actId="478"/>
          <ac:spMkLst>
            <pc:docMk/>
            <pc:sldMk cId="3056861955" sldId="359"/>
            <ac:spMk id="15" creationId="{BA2209B7-8AF5-5557-17B8-3556C02977DF}"/>
          </ac:spMkLst>
        </pc:spChg>
        <pc:spChg chg="add mod">
          <ac:chgData name="Gasteiger, Cassidy M" userId="49e4247d-81de-4625-ae16-f189e0b7e529" providerId="ADAL" clId="{EFB976C6-EC52-4602-90C8-86B8954E5255}" dt="2023-03-30T05:41:39.544" v="19864" actId="164"/>
          <ac:spMkLst>
            <pc:docMk/>
            <pc:sldMk cId="3056861955" sldId="359"/>
            <ac:spMk id="16" creationId="{7C935329-7D88-609F-6B3D-20D67429F45F}"/>
          </ac:spMkLst>
        </pc:spChg>
        <pc:spChg chg="add mod">
          <ac:chgData name="Gasteiger, Cassidy M" userId="49e4247d-81de-4625-ae16-f189e0b7e529" providerId="ADAL" clId="{EFB976C6-EC52-4602-90C8-86B8954E5255}" dt="2023-03-31T01:49:40.646" v="37054" actId="1076"/>
          <ac:spMkLst>
            <pc:docMk/>
            <pc:sldMk cId="3056861955" sldId="359"/>
            <ac:spMk id="18" creationId="{7C9FB8EE-3030-9E08-775D-4229B07D5804}"/>
          </ac:spMkLst>
        </pc:spChg>
        <pc:spChg chg="add del mod">
          <ac:chgData name="Gasteiger, Cassidy M" userId="49e4247d-81de-4625-ae16-f189e0b7e529" providerId="ADAL" clId="{EFB976C6-EC52-4602-90C8-86B8954E5255}" dt="2023-03-30T05:38:19.929" v="19792" actId="21"/>
          <ac:spMkLst>
            <pc:docMk/>
            <pc:sldMk cId="3056861955" sldId="359"/>
            <ac:spMk id="20" creationId="{E3073F4F-8872-EA0C-2BF2-BB5DE2019454}"/>
          </ac:spMkLst>
        </pc:spChg>
        <pc:spChg chg="add mod">
          <ac:chgData name="Gasteiger, Cassidy M" userId="49e4247d-81de-4625-ae16-f189e0b7e529" providerId="ADAL" clId="{EFB976C6-EC52-4602-90C8-86B8954E5255}" dt="2023-03-30T05:41:39.544" v="19864" actId="164"/>
          <ac:spMkLst>
            <pc:docMk/>
            <pc:sldMk cId="3056861955" sldId="359"/>
            <ac:spMk id="21" creationId="{94843B8D-4AC8-93D8-8FF3-DFF568DB7040}"/>
          </ac:spMkLst>
        </pc:spChg>
        <pc:spChg chg="add mod">
          <ac:chgData name="Gasteiger, Cassidy M" userId="49e4247d-81de-4625-ae16-f189e0b7e529" providerId="ADAL" clId="{EFB976C6-EC52-4602-90C8-86B8954E5255}" dt="2023-03-31T01:49:55.407" v="37057" actId="1076"/>
          <ac:spMkLst>
            <pc:docMk/>
            <pc:sldMk cId="3056861955" sldId="359"/>
            <ac:spMk id="23" creationId="{23E61462-C499-C4E9-300C-6F4FD64C8D94}"/>
          </ac:spMkLst>
        </pc:spChg>
        <pc:spChg chg="add mod">
          <ac:chgData name="Gasteiger, Cassidy M" userId="49e4247d-81de-4625-ae16-f189e0b7e529" providerId="ADAL" clId="{EFB976C6-EC52-4602-90C8-86B8954E5255}" dt="2023-03-30T21:21:25.610" v="31238" actId="1076"/>
          <ac:spMkLst>
            <pc:docMk/>
            <pc:sldMk cId="3056861955" sldId="359"/>
            <ac:spMk id="24" creationId="{3EFC53C5-A7C5-1D9C-407A-4655916E2190}"/>
          </ac:spMkLst>
        </pc:spChg>
        <pc:spChg chg="mod">
          <ac:chgData name="Gasteiger, Cassidy M" userId="49e4247d-81de-4625-ae16-f189e0b7e529" providerId="ADAL" clId="{EFB976C6-EC52-4602-90C8-86B8954E5255}" dt="2023-03-30T15:44:29.294" v="24146" actId="20577"/>
          <ac:spMkLst>
            <pc:docMk/>
            <pc:sldMk cId="3056861955" sldId="359"/>
            <ac:spMk id="26" creationId="{7AD6D01A-BD9F-ED98-5677-413D3BAF3871}"/>
          </ac:spMkLst>
        </pc:spChg>
        <pc:spChg chg="mod">
          <ac:chgData name="Gasteiger, Cassidy M" userId="49e4247d-81de-4625-ae16-f189e0b7e529" providerId="ADAL" clId="{EFB976C6-EC52-4602-90C8-86B8954E5255}" dt="2023-03-30T15:44:26.067" v="24132"/>
          <ac:spMkLst>
            <pc:docMk/>
            <pc:sldMk cId="3056861955" sldId="359"/>
            <ac:spMk id="27" creationId="{37025882-7CFC-C848-853F-72E80B2C0BA9}"/>
          </ac:spMkLst>
        </pc:spChg>
        <pc:spChg chg="add del mod">
          <ac:chgData name="Gasteiger, Cassidy M" userId="49e4247d-81de-4625-ae16-f189e0b7e529" providerId="ADAL" clId="{EFB976C6-EC52-4602-90C8-86B8954E5255}" dt="2023-03-30T21:02:15.291" v="30561" actId="20577"/>
          <ac:spMkLst>
            <pc:docMk/>
            <pc:sldMk cId="3056861955" sldId="359"/>
            <ac:spMk id="235" creationId="{00000000-0000-0000-0000-000000000000}"/>
          </ac:spMkLst>
        </pc:spChg>
        <pc:grpChg chg="add del mod">
          <ac:chgData name="Gasteiger, Cassidy M" userId="49e4247d-81de-4625-ae16-f189e0b7e529" providerId="ADAL" clId="{EFB976C6-EC52-4602-90C8-86B8954E5255}" dt="2023-03-30T05:37:38.965" v="19783" actId="165"/>
          <ac:grpSpMkLst>
            <pc:docMk/>
            <pc:sldMk cId="3056861955" sldId="359"/>
            <ac:grpSpMk id="8" creationId="{C3E337F3-D90B-52D6-61B9-063B9557CDEA}"/>
          </ac:grpSpMkLst>
        </pc:grpChg>
        <pc:grpChg chg="add mod">
          <ac:chgData name="Gasteiger, Cassidy M" userId="49e4247d-81de-4625-ae16-f189e0b7e529" providerId="ADAL" clId="{EFB976C6-EC52-4602-90C8-86B8954E5255}" dt="2023-03-30T22:26:26.218" v="32928"/>
          <ac:grpSpMkLst>
            <pc:docMk/>
            <pc:sldMk cId="3056861955" sldId="359"/>
            <ac:grpSpMk id="13" creationId="{3DAA35A1-CAB9-1DDE-749A-7C2C66E7C6DA}"/>
          </ac:grpSpMkLst>
        </pc:grpChg>
        <pc:grpChg chg="add mod">
          <ac:chgData name="Gasteiger, Cassidy M" userId="49e4247d-81de-4625-ae16-f189e0b7e529" providerId="ADAL" clId="{EFB976C6-EC52-4602-90C8-86B8954E5255}" dt="2023-03-31T01:49:52.611" v="37056" actId="1076"/>
          <ac:grpSpMkLst>
            <pc:docMk/>
            <pc:sldMk cId="3056861955" sldId="359"/>
            <ac:grpSpMk id="22" creationId="{EEF97E75-4B76-A112-EE79-DE36066685F2}"/>
          </ac:grpSpMkLst>
        </pc:grpChg>
        <pc:grpChg chg="add del mod">
          <ac:chgData name="Gasteiger, Cassidy M" userId="49e4247d-81de-4625-ae16-f189e0b7e529" providerId="ADAL" clId="{EFB976C6-EC52-4602-90C8-86B8954E5255}" dt="2023-03-30T22:26:25.642" v="32927" actId="478"/>
          <ac:grpSpMkLst>
            <pc:docMk/>
            <pc:sldMk cId="3056861955" sldId="359"/>
            <ac:grpSpMk id="25" creationId="{798736E0-AB1B-D51B-4BFF-7CD117F9B870}"/>
          </ac:grpSpMkLst>
        </pc:grpChg>
        <pc:picChg chg="add del mod">
          <ac:chgData name="Gasteiger, Cassidy M" userId="49e4247d-81de-4625-ae16-f189e0b7e529" providerId="ADAL" clId="{EFB976C6-EC52-4602-90C8-86B8954E5255}" dt="2023-03-30T03:22:13.817" v="15566" actId="478"/>
          <ac:picMkLst>
            <pc:docMk/>
            <pc:sldMk cId="3056861955" sldId="359"/>
            <ac:picMk id="4" creationId="{CCED83A1-C825-BCBA-391C-B5E7BBCD091F}"/>
          </ac:picMkLst>
        </pc:picChg>
        <pc:picChg chg="add mod">
          <ac:chgData name="Gasteiger, Cassidy M" userId="49e4247d-81de-4625-ae16-f189e0b7e529" providerId="ADAL" clId="{EFB976C6-EC52-4602-90C8-86B8954E5255}" dt="2023-03-30T05:41:39.544" v="19864" actId="164"/>
          <ac:picMkLst>
            <pc:docMk/>
            <pc:sldMk cId="3056861955" sldId="359"/>
            <ac:picMk id="10" creationId="{DBB6EFE2-0A53-8139-67A6-75DA26E60ECF}"/>
          </ac:picMkLst>
        </pc:picChg>
        <pc:picChg chg="add mod">
          <ac:chgData name="Gasteiger, Cassidy M" userId="49e4247d-81de-4625-ae16-f189e0b7e529" providerId="ADAL" clId="{EFB976C6-EC52-4602-90C8-86B8954E5255}" dt="2023-03-30T05:41:39.544" v="19864" actId="164"/>
          <ac:picMkLst>
            <pc:docMk/>
            <pc:sldMk cId="3056861955" sldId="359"/>
            <ac:picMk id="12" creationId="{04A70301-AEA6-C5BD-E18B-A8CD4E9A3367}"/>
          </ac:picMkLst>
        </pc:picChg>
        <pc:picChg chg="del">
          <ac:chgData name="Gasteiger, Cassidy M" userId="49e4247d-81de-4625-ae16-f189e0b7e529" providerId="ADAL" clId="{EFB976C6-EC52-4602-90C8-86B8954E5255}" dt="2023-03-30T15:44:25.094" v="24131" actId="478"/>
          <ac:picMkLst>
            <pc:docMk/>
            <pc:sldMk cId="3056861955" sldId="359"/>
            <ac:picMk id="19" creationId="{24BC20AD-59F1-47D8-C1E6-2E071B451FE3}"/>
          </ac:picMkLst>
        </pc:picChg>
      </pc:sldChg>
      <pc:sldChg chg="add">
        <pc:chgData name="Gasteiger, Cassidy M" userId="49e4247d-81de-4625-ae16-f189e0b7e529" providerId="ADAL" clId="{EFB976C6-EC52-4602-90C8-86B8954E5255}" dt="2023-03-31T03:39:42.016" v="41652"/>
        <pc:sldMkLst>
          <pc:docMk/>
          <pc:sldMk cId="4202540872" sldId="359"/>
        </pc:sldMkLst>
      </pc:sldChg>
      <pc:sldChg chg="addSp delSp modSp add mod ord">
        <pc:chgData name="Gasteiger, Cassidy M" userId="49e4247d-81de-4625-ae16-f189e0b7e529" providerId="ADAL" clId="{EFB976C6-EC52-4602-90C8-86B8954E5255}" dt="2023-03-30T22:26:31.410" v="32930"/>
        <pc:sldMkLst>
          <pc:docMk/>
          <pc:sldMk cId="1885498179" sldId="360"/>
        </pc:sldMkLst>
        <pc:spChg chg="mod">
          <ac:chgData name="Gasteiger, Cassidy M" userId="49e4247d-81de-4625-ae16-f189e0b7e529" providerId="ADAL" clId="{EFB976C6-EC52-4602-90C8-86B8954E5255}" dt="2023-03-30T22:26:31.410" v="32930"/>
          <ac:spMkLst>
            <pc:docMk/>
            <pc:sldMk cId="1885498179" sldId="360"/>
            <ac:spMk id="3" creationId="{8CBB4274-8AF5-8FD6-02F3-FF0B156FAB2D}"/>
          </ac:spMkLst>
        </pc:spChg>
        <pc:spChg chg="add mod">
          <ac:chgData name="Gasteiger, Cassidy M" userId="49e4247d-81de-4625-ae16-f189e0b7e529" providerId="ADAL" clId="{EFB976C6-EC52-4602-90C8-86B8954E5255}" dt="2023-03-30T20:46:44.836" v="30060" actId="20577"/>
          <ac:spMkLst>
            <pc:docMk/>
            <pc:sldMk cId="1885498179" sldId="360"/>
            <ac:spMk id="4" creationId="{54E50E94-A97C-49B1-9E1D-1E94619B2F3F}"/>
          </ac:spMkLst>
        </pc:spChg>
        <pc:spChg chg="mod">
          <ac:chgData name="Gasteiger, Cassidy M" userId="49e4247d-81de-4625-ae16-f189e0b7e529" providerId="ADAL" clId="{EFB976C6-EC52-4602-90C8-86B8954E5255}" dt="2023-03-30T22:26:31.410" v="32930"/>
          <ac:spMkLst>
            <pc:docMk/>
            <pc:sldMk cId="1885498179" sldId="360"/>
            <ac:spMk id="5" creationId="{17EBD5BD-3084-8EB1-6A52-7F545030F85B}"/>
          </ac:spMkLst>
        </pc:spChg>
        <pc:spChg chg="add del mod">
          <ac:chgData name="Gasteiger, Cassidy M" userId="49e4247d-81de-4625-ae16-f189e0b7e529" providerId="ADAL" clId="{EFB976C6-EC52-4602-90C8-86B8954E5255}" dt="2023-03-30T04:47:52.443" v="17401" actId="478"/>
          <ac:spMkLst>
            <pc:docMk/>
            <pc:sldMk cId="1885498179" sldId="360"/>
            <ac:spMk id="5" creationId="{BF321A9A-A63B-D1A6-9A6F-924A07FAD3AC}"/>
          </ac:spMkLst>
        </pc:spChg>
        <pc:spChg chg="del">
          <ac:chgData name="Gasteiger, Cassidy M" userId="49e4247d-81de-4625-ae16-f189e0b7e529" providerId="ADAL" clId="{EFB976C6-EC52-4602-90C8-86B8954E5255}" dt="2023-03-30T16:20:10.837" v="25901" actId="478"/>
          <ac:spMkLst>
            <pc:docMk/>
            <pc:sldMk cId="1885498179" sldId="360"/>
            <ac:spMk id="15" creationId="{BA2209B7-8AF5-5557-17B8-3556C02977DF}"/>
          </ac:spMkLst>
        </pc:spChg>
        <pc:spChg chg="del">
          <ac:chgData name="Gasteiger, Cassidy M" userId="49e4247d-81de-4625-ae16-f189e0b7e529" providerId="ADAL" clId="{EFB976C6-EC52-4602-90C8-86B8954E5255}" dt="2023-03-30T16:20:10.837" v="25901" actId="478"/>
          <ac:spMkLst>
            <pc:docMk/>
            <pc:sldMk cId="1885498179" sldId="360"/>
            <ac:spMk id="17" creationId="{9B019CAA-CCA3-B713-CC3F-FB187DEAA948}"/>
          </ac:spMkLst>
        </pc:spChg>
        <pc:spChg chg="mod">
          <ac:chgData name="Gasteiger, Cassidy M" userId="49e4247d-81de-4625-ae16-f189e0b7e529" providerId="ADAL" clId="{EFB976C6-EC52-4602-90C8-86B8954E5255}" dt="2023-03-30T04:55:10.157" v="18248" actId="20577"/>
          <ac:spMkLst>
            <pc:docMk/>
            <pc:sldMk cId="1885498179" sldId="360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30T22:26:31.410" v="32930"/>
          <ac:grpSpMkLst>
            <pc:docMk/>
            <pc:sldMk cId="1885498179" sldId="360"/>
            <ac:grpSpMk id="2" creationId="{F924C9BF-C196-A2B1-2DB7-FD429E3F2857}"/>
          </ac:grpSpMkLst>
        </pc:grpChg>
        <pc:picChg chg="add del mod">
          <ac:chgData name="Gasteiger, Cassidy M" userId="49e4247d-81de-4625-ae16-f189e0b7e529" providerId="ADAL" clId="{EFB976C6-EC52-4602-90C8-86B8954E5255}" dt="2023-03-30T04:54:06.777" v="18214" actId="478"/>
          <ac:picMkLst>
            <pc:docMk/>
            <pc:sldMk cId="1885498179" sldId="360"/>
            <ac:picMk id="3" creationId="{D6553726-8F51-0B60-FB41-9B85A687F2E6}"/>
          </ac:picMkLst>
        </pc:picChg>
        <pc:picChg chg="add mod">
          <ac:chgData name="Gasteiger, Cassidy M" userId="49e4247d-81de-4625-ae16-f189e0b7e529" providerId="ADAL" clId="{EFB976C6-EC52-4602-90C8-86B8954E5255}" dt="2023-03-30T04:54:20.105" v="18220" actId="1076"/>
          <ac:picMkLst>
            <pc:docMk/>
            <pc:sldMk cId="1885498179" sldId="360"/>
            <ac:picMk id="7" creationId="{C5096256-01C0-B66D-3005-CC8C1B794D7A}"/>
          </ac:picMkLst>
        </pc:picChg>
        <pc:picChg chg="del">
          <ac:chgData name="Gasteiger, Cassidy M" userId="49e4247d-81de-4625-ae16-f189e0b7e529" providerId="ADAL" clId="{EFB976C6-EC52-4602-90C8-86B8954E5255}" dt="2023-03-30T16:20:10.837" v="25901" actId="478"/>
          <ac:picMkLst>
            <pc:docMk/>
            <pc:sldMk cId="1885498179" sldId="360"/>
            <ac:picMk id="19" creationId="{24BC20AD-59F1-47D8-C1E6-2E071B451FE3}"/>
          </ac:picMkLst>
        </pc:picChg>
      </pc:sldChg>
      <pc:sldChg chg="addSp delSp modSp add mod">
        <pc:chgData name="Gasteiger, Cassidy M" userId="49e4247d-81de-4625-ae16-f189e0b7e529" providerId="ADAL" clId="{EFB976C6-EC52-4602-90C8-86B8954E5255}" dt="2023-03-31T02:47:00.707" v="41015" actId="20577"/>
        <pc:sldMkLst>
          <pc:docMk/>
          <pc:sldMk cId="4220220668" sldId="361"/>
        </pc:sldMkLst>
        <pc:spChg chg="add del mod">
          <ac:chgData name="Gasteiger, Cassidy M" userId="49e4247d-81de-4625-ae16-f189e0b7e529" providerId="ADAL" clId="{EFB976C6-EC52-4602-90C8-86B8954E5255}" dt="2023-03-30T05:20:45.090" v="19108" actId="478"/>
          <ac:spMkLst>
            <pc:docMk/>
            <pc:sldMk cId="4220220668" sldId="361"/>
            <ac:spMk id="2" creationId="{06A8D7B8-D5C0-FB88-9C2B-97E80FAA315A}"/>
          </ac:spMkLst>
        </pc:spChg>
        <pc:spChg chg="add mod">
          <ac:chgData name="Gasteiger, Cassidy M" userId="49e4247d-81de-4625-ae16-f189e0b7e529" providerId="ADAL" clId="{EFB976C6-EC52-4602-90C8-86B8954E5255}" dt="2023-03-31T02:47:00.707" v="41015" actId="20577"/>
          <ac:spMkLst>
            <pc:docMk/>
            <pc:sldMk cId="4220220668" sldId="361"/>
            <ac:spMk id="3" creationId="{19DA0307-2777-F02D-ADB8-421030F12C71}"/>
          </ac:spMkLst>
        </pc:spChg>
        <pc:spChg chg="del">
          <ac:chgData name="Gasteiger, Cassidy M" userId="49e4247d-81de-4625-ae16-f189e0b7e529" providerId="ADAL" clId="{EFB976C6-EC52-4602-90C8-86B8954E5255}" dt="2023-03-27T00:01:09.334" v="3462" actId="478"/>
          <ac:spMkLst>
            <pc:docMk/>
            <pc:sldMk cId="4220220668" sldId="361"/>
            <ac:spMk id="3" creationId="{83002D7B-F14B-9101-3B8B-11F03B0C955B}"/>
          </ac:spMkLst>
        </pc:spChg>
        <pc:spChg chg="add del mod">
          <ac:chgData name="Gasteiger, Cassidy M" userId="49e4247d-81de-4625-ae16-f189e0b7e529" providerId="ADAL" clId="{EFB976C6-EC52-4602-90C8-86B8954E5255}" dt="2023-03-30T15:25:52.036" v="23108" actId="478"/>
          <ac:spMkLst>
            <pc:docMk/>
            <pc:sldMk cId="4220220668" sldId="361"/>
            <ac:spMk id="4" creationId="{DF436D7D-ABEA-DC7E-8B8D-9298EF1749EB}"/>
          </ac:spMkLst>
        </pc:spChg>
        <pc:spChg chg="add mod">
          <ac:chgData name="Gasteiger, Cassidy M" userId="49e4247d-81de-4625-ae16-f189e0b7e529" providerId="ADAL" clId="{EFB976C6-EC52-4602-90C8-86B8954E5255}" dt="2023-03-27T19:06:20.112" v="4205"/>
          <ac:spMkLst>
            <pc:docMk/>
            <pc:sldMk cId="4220220668" sldId="361"/>
            <ac:spMk id="6" creationId="{26CC9FF9-CEC6-C975-EB81-593D3FD95D0F}"/>
          </ac:spMkLst>
        </pc:spChg>
        <pc:spChg chg="del">
          <ac:chgData name="Gasteiger, Cassidy M" userId="49e4247d-81de-4625-ae16-f189e0b7e529" providerId="ADAL" clId="{EFB976C6-EC52-4602-90C8-86B8954E5255}" dt="2023-03-27T00:01:06.825" v="3460" actId="478"/>
          <ac:spMkLst>
            <pc:docMk/>
            <pc:sldMk cId="4220220668" sldId="361"/>
            <ac:spMk id="8" creationId="{94B10EA8-7CEF-C026-AE6D-0C98CA26526E}"/>
          </ac:spMkLst>
        </pc:spChg>
        <pc:spChg chg="mod">
          <ac:chgData name="Gasteiger, Cassidy M" userId="49e4247d-81de-4625-ae16-f189e0b7e529" providerId="ADAL" clId="{EFB976C6-EC52-4602-90C8-86B8954E5255}" dt="2023-03-30T15:25:52.942" v="23109"/>
          <ac:spMkLst>
            <pc:docMk/>
            <pc:sldMk cId="4220220668" sldId="361"/>
            <ac:spMk id="9" creationId="{BE303433-8AA4-463B-673F-76BAA28BD17E}"/>
          </ac:spMkLst>
        </pc:spChg>
        <pc:spChg chg="mod">
          <ac:chgData name="Gasteiger, Cassidy M" userId="49e4247d-81de-4625-ae16-f189e0b7e529" providerId="ADAL" clId="{EFB976C6-EC52-4602-90C8-86B8954E5255}" dt="2023-03-30T15:25:52.942" v="23109"/>
          <ac:spMkLst>
            <pc:docMk/>
            <pc:sldMk cId="4220220668" sldId="361"/>
            <ac:spMk id="10" creationId="{80310FC5-85A6-59DA-0C23-84DBD299048B}"/>
          </ac:spMkLst>
        </pc:spChg>
        <pc:spChg chg="mod">
          <ac:chgData name="Gasteiger, Cassidy M" userId="49e4247d-81de-4625-ae16-f189e0b7e529" providerId="ADAL" clId="{EFB976C6-EC52-4602-90C8-86B8954E5255}" dt="2023-03-30T15:26:15.730" v="23157" actId="1036"/>
          <ac:spMkLst>
            <pc:docMk/>
            <pc:sldMk cId="4220220668" sldId="361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30T15:25:52.942" v="23109"/>
          <ac:grpSpMkLst>
            <pc:docMk/>
            <pc:sldMk cId="4220220668" sldId="361"/>
            <ac:grpSpMk id="8" creationId="{9767D8E1-87D0-0207-D864-94BCC9182D0E}"/>
          </ac:grpSpMkLst>
        </pc:grpChg>
        <pc:picChg chg="add del mod">
          <ac:chgData name="Gasteiger, Cassidy M" userId="49e4247d-81de-4625-ae16-f189e0b7e529" providerId="ADAL" clId="{EFB976C6-EC52-4602-90C8-86B8954E5255}" dt="2023-03-30T15:26:03.620" v="23145" actId="478"/>
          <ac:picMkLst>
            <pc:docMk/>
            <pc:sldMk cId="4220220668" sldId="361"/>
            <ac:picMk id="5" creationId="{8A62314E-DAA4-B73B-4DC4-1EE17310FC5F}"/>
          </ac:picMkLst>
        </pc:picChg>
        <pc:picChg chg="del">
          <ac:chgData name="Gasteiger, Cassidy M" userId="49e4247d-81de-4625-ae16-f189e0b7e529" providerId="ADAL" clId="{EFB976C6-EC52-4602-90C8-86B8954E5255}" dt="2023-03-27T00:01:04.586" v="3459" actId="478"/>
          <ac:picMkLst>
            <pc:docMk/>
            <pc:sldMk cId="4220220668" sldId="361"/>
            <ac:picMk id="7" creationId="{7FEFEC5A-0C85-62F1-ABDD-F0BCBC75C657}"/>
          </ac:picMkLst>
        </pc:picChg>
        <pc:picChg chg="add mod">
          <ac:chgData name="Gasteiger, Cassidy M" userId="49e4247d-81de-4625-ae16-f189e0b7e529" providerId="ADAL" clId="{EFB976C6-EC52-4602-90C8-86B8954E5255}" dt="2023-03-30T15:26:15.730" v="23157" actId="1036"/>
          <ac:picMkLst>
            <pc:docMk/>
            <pc:sldMk cId="4220220668" sldId="361"/>
            <ac:picMk id="3074" creationId="{8D7D2142-D886-17FC-B636-21B482A83219}"/>
          </ac:picMkLst>
        </pc:picChg>
        <pc:cxnChg chg="add mod">
          <ac:chgData name="Gasteiger, Cassidy M" userId="49e4247d-81de-4625-ae16-f189e0b7e529" providerId="ADAL" clId="{EFB976C6-EC52-4602-90C8-86B8954E5255}" dt="2023-03-30T15:26:15.730" v="23157" actId="1036"/>
          <ac:cxnSpMkLst>
            <pc:docMk/>
            <pc:sldMk cId="4220220668" sldId="361"/>
            <ac:cxnSpMk id="7" creationId="{DB9EA2F3-23A4-BDAF-B1CB-B03B8026DEF7}"/>
          </ac:cxnSpMkLst>
        </pc:cxnChg>
        <pc:cxnChg chg="del">
          <ac:chgData name="Gasteiger, Cassidy M" userId="49e4247d-81de-4625-ae16-f189e0b7e529" providerId="ADAL" clId="{EFB976C6-EC52-4602-90C8-86B8954E5255}" dt="2023-03-27T00:01:08.191" v="3461" actId="478"/>
          <ac:cxnSpMkLst>
            <pc:docMk/>
            <pc:sldMk cId="4220220668" sldId="361"/>
            <ac:cxnSpMk id="10" creationId="{42AE90B6-DF18-C891-CCA3-972472E726A2}"/>
          </ac:cxnSpMkLst>
        </pc:cxnChg>
      </pc:sldChg>
      <pc:sldChg chg="addSp delSp modSp add del mod">
        <pc:chgData name="Gasteiger, Cassidy M" userId="49e4247d-81de-4625-ae16-f189e0b7e529" providerId="ADAL" clId="{EFB976C6-EC52-4602-90C8-86B8954E5255}" dt="2023-03-30T04:29:04.318" v="17047" actId="2696"/>
        <pc:sldMkLst>
          <pc:docMk/>
          <pc:sldMk cId="2516705359" sldId="362"/>
        </pc:sldMkLst>
        <pc:spChg chg="mod">
          <ac:chgData name="Gasteiger, Cassidy M" userId="49e4247d-81de-4625-ae16-f189e0b7e529" providerId="ADAL" clId="{EFB976C6-EC52-4602-90C8-86B8954E5255}" dt="2023-03-28T20:42:26.798" v="7596" actId="14100"/>
          <ac:spMkLst>
            <pc:docMk/>
            <pc:sldMk cId="2516705359" sldId="362"/>
            <ac:spMk id="2" creationId="{F098E5C7-7B68-DCF9-D4D3-4116DF732764}"/>
          </ac:spMkLst>
        </pc:spChg>
        <pc:spChg chg="mod">
          <ac:chgData name="Gasteiger, Cassidy M" userId="49e4247d-81de-4625-ae16-f189e0b7e529" providerId="ADAL" clId="{EFB976C6-EC52-4602-90C8-86B8954E5255}" dt="2023-03-28T20:42:08.420" v="7589" actId="1076"/>
          <ac:spMkLst>
            <pc:docMk/>
            <pc:sldMk cId="2516705359" sldId="362"/>
            <ac:spMk id="3" creationId="{147FA591-52E7-09A6-392E-5EED6FBCFEF9}"/>
          </ac:spMkLst>
        </pc:spChg>
        <pc:spChg chg="add del mod">
          <ac:chgData name="Gasteiger, Cassidy M" userId="49e4247d-81de-4625-ae16-f189e0b7e529" providerId="ADAL" clId="{EFB976C6-EC52-4602-90C8-86B8954E5255}" dt="2023-03-27T04:18:33.209" v="3602"/>
          <ac:spMkLst>
            <pc:docMk/>
            <pc:sldMk cId="2516705359" sldId="362"/>
            <ac:spMk id="5" creationId="{EB847F4C-B9EC-7CD4-DA81-64EE04B7B2DF}"/>
          </ac:spMkLst>
        </pc:spChg>
        <pc:spChg chg="del">
          <ac:chgData name="Gasteiger, Cassidy M" userId="49e4247d-81de-4625-ae16-f189e0b7e529" providerId="ADAL" clId="{EFB976C6-EC52-4602-90C8-86B8954E5255}" dt="2023-03-27T02:52:00.979" v="3581" actId="478"/>
          <ac:spMkLst>
            <pc:docMk/>
            <pc:sldMk cId="2516705359" sldId="362"/>
            <ac:spMk id="7" creationId="{EBE908A8-00BF-125C-E586-4C1E0C43EC37}"/>
          </ac:spMkLst>
        </pc:spChg>
        <pc:spChg chg="add mod">
          <ac:chgData name="Gasteiger, Cassidy M" userId="49e4247d-81de-4625-ae16-f189e0b7e529" providerId="ADAL" clId="{EFB976C6-EC52-4602-90C8-86B8954E5255}" dt="2023-03-28T18:52:48.221" v="6299" actId="1076"/>
          <ac:spMkLst>
            <pc:docMk/>
            <pc:sldMk cId="2516705359" sldId="362"/>
            <ac:spMk id="8" creationId="{0025AACA-9D7A-9098-559E-7E006EADA94B}"/>
          </ac:spMkLst>
        </pc:spChg>
        <pc:spChg chg="add del mod">
          <ac:chgData name="Gasteiger, Cassidy M" userId="49e4247d-81de-4625-ae16-f189e0b7e529" providerId="ADAL" clId="{EFB976C6-EC52-4602-90C8-86B8954E5255}" dt="2023-03-27T22:07:37.062" v="4894"/>
          <ac:spMkLst>
            <pc:docMk/>
            <pc:sldMk cId="2516705359" sldId="362"/>
            <ac:spMk id="9" creationId="{7B09E011-1A83-262A-D8C1-B37E4AB2DC51}"/>
          </ac:spMkLst>
        </pc:spChg>
        <pc:spChg chg="add mod">
          <ac:chgData name="Gasteiger, Cassidy M" userId="49e4247d-81de-4625-ae16-f189e0b7e529" providerId="ADAL" clId="{EFB976C6-EC52-4602-90C8-86B8954E5255}" dt="2023-03-27T22:25:38.492" v="4955" actId="164"/>
          <ac:spMkLst>
            <pc:docMk/>
            <pc:sldMk cId="2516705359" sldId="362"/>
            <ac:spMk id="10" creationId="{04068C16-942E-30B4-AAF6-5A90DC6E3647}"/>
          </ac:spMkLst>
        </pc:spChg>
        <pc:spChg chg="add mod">
          <ac:chgData name="Gasteiger, Cassidy M" userId="49e4247d-81de-4625-ae16-f189e0b7e529" providerId="ADAL" clId="{EFB976C6-EC52-4602-90C8-86B8954E5255}" dt="2023-03-27T22:25:38.492" v="4955" actId="164"/>
          <ac:spMkLst>
            <pc:docMk/>
            <pc:sldMk cId="2516705359" sldId="362"/>
            <ac:spMk id="11" creationId="{69A75E69-7969-E2EA-83EF-06F3AC0211DC}"/>
          </ac:spMkLst>
        </pc:spChg>
        <pc:spChg chg="add mod">
          <ac:chgData name="Gasteiger, Cassidy M" userId="49e4247d-81de-4625-ae16-f189e0b7e529" providerId="ADAL" clId="{EFB976C6-EC52-4602-90C8-86B8954E5255}" dt="2023-03-28T18:45:58.517" v="6296" actId="1076"/>
          <ac:spMkLst>
            <pc:docMk/>
            <pc:sldMk cId="2516705359" sldId="362"/>
            <ac:spMk id="15" creationId="{60635D16-ABF9-A851-5897-69F6DC233777}"/>
          </ac:spMkLst>
        </pc:spChg>
        <pc:spChg chg="add mod">
          <ac:chgData name="Gasteiger, Cassidy M" userId="49e4247d-81de-4625-ae16-f189e0b7e529" providerId="ADAL" clId="{EFB976C6-EC52-4602-90C8-86B8954E5255}" dt="2023-03-28T18:52:37.427" v="6298" actId="208"/>
          <ac:spMkLst>
            <pc:docMk/>
            <pc:sldMk cId="2516705359" sldId="362"/>
            <ac:spMk id="19" creationId="{0C91B28A-7887-87A8-618E-13360C3AD3F2}"/>
          </ac:spMkLst>
        </pc:spChg>
        <pc:spChg chg="add mod">
          <ac:chgData name="Gasteiger, Cassidy M" userId="49e4247d-81de-4625-ae16-f189e0b7e529" providerId="ADAL" clId="{EFB976C6-EC52-4602-90C8-86B8954E5255}" dt="2023-03-28T18:45:53.042" v="6295" actId="1076"/>
          <ac:spMkLst>
            <pc:docMk/>
            <pc:sldMk cId="2516705359" sldId="362"/>
            <ac:spMk id="23" creationId="{377472EF-8824-D6C1-17DA-3D142E8B7F38}"/>
          </ac:spMkLst>
        </pc:spChg>
        <pc:spChg chg="mod">
          <ac:chgData name="Gasteiger, Cassidy M" userId="49e4247d-81de-4625-ae16-f189e0b7e529" providerId="ADAL" clId="{EFB976C6-EC52-4602-90C8-86B8954E5255}" dt="2023-03-27T02:51:58.742" v="3580" actId="20577"/>
          <ac:spMkLst>
            <pc:docMk/>
            <pc:sldMk cId="2516705359" sldId="362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27T22:25:49.079" v="4959" actId="1076"/>
          <ac:grpSpMkLst>
            <pc:docMk/>
            <pc:sldMk cId="2516705359" sldId="362"/>
            <ac:grpSpMk id="14" creationId="{ED74C849-5242-58A7-9543-F0E5EA7665C4}"/>
          </ac:grpSpMkLst>
        </pc:grpChg>
        <pc:graphicFrameChg chg="add mod">
          <ac:chgData name="Gasteiger, Cassidy M" userId="49e4247d-81de-4625-ae16-f189e0b7e529" providerId="ADAL" clId="{EFB976C6-EC52-4602-90C8-86B8954E5255}" dt="2023-03-28T18:44:23.264" v="6234"/>
          <ac:graphicFrameMkLst>
            <pc:docMk/>
            <pc:sldMk cId="2516705359" sldId="362"/>
            <ac:graphicFrameMk id="4" creationId="{85697492-A8BF-B278-BA03-0020B3C56614}"/>
          </ac:graphicFrameMkLst>
        </pc:graphicFrameChg>
        <pc:graphicFrameChg chg="add mod">
          <ac:chgData name="Gasteiger, Cassidy M" userId="49e4247d-81de-4625-ae16-f189e0b7e529" providerId="ADAL" clId="{EFB976C6-EC52-4602-90C8-86B8954E5255}" dt="2023-03-28T16:26:24.880" v="6184" actId="1076"/>
          <ac:graphicFrameMkLst>
            <pc:docMk/>
            <pc:sldMk cId="2516705359" sldId="362"/>
            <ac:graphicFrameMk id="18" creationId="{CA41269A-107E-52A2-7C22-7E0FAE75FF54}"/>
          </ac:graphicFrameMkLst>
        </pc:graphicFrameChg>
        <pc:graphicFrameChg chg="add mod">
          <ac:chgData name="Gasteiger, Cassidy M" userId="49e4247d-81de-4625-ae16-f189e0b7e529" providerId="ADAL" clId="{EFB976C6-EC52-4602-90C8-86B8954E5255}" dt="2023-03-28T18:44:43.421" v="6237" actId="1076"/>
          <ac:graphicFrameMkLst>
            <pc:docMk/>
            <pc:sldMk cId="2516705359" sldId="362"/>
            <ac:graphicFrameMk id="26" creationId="{8C869F7D-66C2-8559-E3AA-851BEA8EA1D6}"/>
          </ac:graphicFrameMkLst>
        </pc:graphicFrameChg>
        <pc:picChg chg="mod">
          <ac:chgData name="Gasteiger, Cassidy M" userId="49e4247d-81de-4625-ae16-f189e0b7e529" providerId="ADAL" clId="{EFB976C6-EC52-4602-90C8-86B8954E5255}" dt="2023-03-28T20:42:20.901" v="7594" actId="1076"/>
          <ac:picMkLst>
            <pc:docMk/>
            <pc:sldMk cId="2516705359" sldId="362"/>
            <ac:picMk id="6" creationId="{86D6DC68-3C4C-3CC9-82A5-63EAC0B7B9D3}"/>
          </ac:picMkLst>
        </pc:picChg>
        <pc:picChg chg="add mod">
          <ac:chgData name="Gasteiger, Cassidy M" userId="49e4247d-81de-4625-ae16-f189e0b7e529" providerId="ADAL" clId="{EFB976C6-EC52-4602-90C8-86B8954E5255}" dt="2023-03-27T22:25:45.948" v="4958" actId="1076"/>
          <ac:picMkLst>
            <pc:docMk/>
            <pc:sldMk cId="2516705359" sldId="362"/>
            <ac:picMk id="13" creationId="{CCD8B159-E729-CD12-02CE-B14A76318494}"/>
          </ac:picMkLst>
        </pc:picChg>
        <pc:cxnChg chg="add mod">
          <ac:chgData name="Gasteiger, Cassidy M" userId="49e4247d-81de-4625-ae16-f189e0b7e529" providerId="ADAL" clId="{EFB976C6-EC52-4602-90C8-86B8954E5255}" dt="2023-03-28T18:45:41.908" v="6294" actId="14100"/>
          <ac:cxnSpMkLst>
            <pc:docMk/>
            <pc:sldMk cId="2516705359" sldId="362"/>
            <ac:cxnSpMk id="21" creationId="{BDB687F1-744E-D649-7735-29D60C18081C}"/>
          </ac:cxnSpMkLst>
        </pc:cxnChg>
      </pc:sldChg>
      <pc:sldChg chg="addSp delSp modSp add del mod ord">
        <pc:chgData name="Gasteiger, Cassidy M" userId="49e4247d-81de-4625-ae16-f189e0b7e529" providerId="ADAL" clId="{EFB976C6-EC52-4602-90C8-86B8954E5255}" dt="2023-03-31T02:45:54.162" v="40994" actId="2696"/>
        <pc:sldMkLst>
          <pc:docMk/>
          <pc:sldMk cId="620994382" sldId="363"/>
        </pc:sldMkLst>
        <pc:spChg chg="add mod">
          <ac:chgData name="Gasteiger, Cassidy M" userId="49e4247d-81de-4625-ae16-f189e0b7e529" providerId="ADAL" clId="{EFB976C6-EC52-4602-90C8-86B8954E5255}" dt="2023-03-28T19:20:25.272" v="7523" actId="20577"/>
          <ac:spMkLst>
            <pc:docMk/>
            <pc:sldMk cId="620994382" sldId="363"/>
            <ac:spMk id="2" creationId="{35376E90-68BC-6E98-CA7E-E6B31CACEAC1}"/>
          </ac:spMkLst>
        </pc:spChg>
        <pc:spChg chg="add mod">
          <ac:chgData name="Gasteiger, Cassidy M" userId="49e4247d-81de-4625-ae16-f189e0b7e529" providerId="ADAL" clId="{EFB976C6-EC52-4602-90C8-86B8954E5255}" dt="2023-03-30T16:06:06.428" v="24323" actId="1076"/>
          <ac:spMkLst>
            <pc:docMk/>
            <pc:sldMk cId="620994382" sldId="363"/>
            <ac:spMk id="3" creationId="{3C2D1EB0-11F3-CB1B-5613-A4B6559B1A93}"/>
          </ac:spMkLst>
        </pc:spChg>
        <pc:spChg chg="del">
          <ac:chgData name="Gasteiger, Cassidy M" userId="49e4247d-81de-4625-ae16-f189e0b7e529" providerId="ADAL" clId="{EFB976C6-EC52-4602-90C8-86B8954E5255}" dt="2023-03-28T19:16:43.069" v="6325" actId="478"/>
          <ac:spMkLst>
            <pc:docMk/>
            <pc:sldMk cId="620994382" sldId="363"/>
            <ac:spMk id="6" creationId="{F8642C6C-CC1B-308C-564B-A9468901F180}"/>
          </ac:spMkLst>
        </pc:spChg>
        <pc:spChg chg="del">
          <ac:chgData name="Gasteiger, Cassidy M" userId="49e4247d-81de-4625-ae16-f189e0b7e529" providerId="ADAL" clId="{EFB976C6-EC52-4602-90C8-86B8954E5255}" dt="2023-03-28T19:16:43.069" v="6325" actId="478"/>
          <ac:spMkLst>
            <pc:docMk/>
            <pc:sldMk cId="620994382" sldId="363"/>
            <ac:spMk id="7" creationId="{4174CCE3-4BF5-F56D-A729-5B867191484C}"/>
          </ac:spMkLst>
        </pc:spChg>
        <pc:spChg chg="del">
          <ac:chgData name="Gasteiger, Cassidy M" userId="49e4247d-81de-4625-ae16-f189e0b7e529" providerId="ADAL" clId="{EFB976C6-EC52-4602-90C8-86B8954E5255}" dt="2023-03-28T19:16:43.069" v="6325" actId="478"/>
          <ac:spMkLst>
            <pc:docMk/>
            <pc:sldMk cId="620994382" sldId="363"/>
            <ac:spMk id="9" creationId="{5578A9FC-CCDE-5EF9-C3D3-F4AF6CC7EE33}"/>
          </ac:spMkLst>
        </pc:spChg>
        <pc:spChg chg="del">
          <ac:chgData name="Gasteiger, Cassidy M" userId="49e4247d-81de-4625-ae16-f189e0b7e529" providerId="ADAL" clId="{EFB976C6-EC52-4602-90C8-86B8954E5255}" dt="2023-03-28T19:16:43.069" v="6325" actId="478"/>
          <ac:spMkLst>
            <pc:docMk/>
            <pc:sldMk cId="620994382" sldId="363"/>
            <ac:spMk id="10" creationId="{CCF66740-CFD1-2572-3D22-E7AF8A861BCB}"/>
          </ac:spMkLst>
        </pc:spChg>
        <pc:spChg chg="del">
          <ac:chgData name="Gasteiger, Cassidy M" userId="49e4247d-81de-4625-ae16-f189e0b7e529" providerId="ADAL" clId="{EFB976C6-EC52-4602-90C8-86B8954E5255}" dt="2023-03-28T19:16:43.069" v="6325" actId="478"/>
          <ac:spMkLst>
            <pc:docMk/>
            <pc:sldMk cId="620994382" sldId="363"/>
            <ac:spMk id="13" creationId="{6AA1A04F-83FF-0289-2E39-3561C96C5B4B}"/>
          </ac:spMkLst>
        </pc:spChg>
        <pc:spChg chg="del">
          <ac:chgData name="Gasteiger, Cassidy M" userId="49e4247d-81de-4625-ae16-f189e0b7e529" providerId="ADAL" clId="{EFB976C6-EC52-4602-90C8-86B8954E5255}" dt="2023-03-28T19:16:43.069" v="6325" actId="478"/>
          <ac:spMkLst>
            <pc:docMk/>
            <pc:sldMk cId="620994382" sldId="363"/>
            <ac:spMk id="14" creationId="{21D86F37-1C4C-E507-6821-534C3B6F9289}"/>
          </ac:spMkLst>
        </pc:spChg>
        <pc:spChg chg="del">
          <ac:chgData name="Gasteiger, Cassidy M" userId="49e4247d-81de-4625-ae16-f189e0b7e529" providerId="ADAL" clId="{EFB976C6-EC52-4602-90C8-86B8954E5255}" dt="2023-03-28T19:16:43.069" v="6325" actId="478"/>
          <ac:spMkLst>
            <pc:docMk/>
            <pc:sldMk cId="620994382" sldId="363"/>
            <ac:spMk id="15" creationId="{5C078654-A462-BA02-323F-2741E7B262B1}"/>
          </ac:spMkLst>
        </pc:spChg>
        <pc:spChg chg="mod">
          <ac:chgData name="Gasteiger, Cassidy M" userId="49e4247d-81de-4625-ae16-f189e0b7e529" providerId="ADAL" clId="{EFB976C6-EC52-4602-90C8-86B8954E5255}" dt="2023-03-28T19:16:38.894" v="6324" actId="20577"/>
          <ac:spMkLst>
            <pc:docMk/>
            <pc:sldMk cId="620994382" sldId="363"/>
            <ac:spMk id="235" creationId="{00000000-0000-0000-0000-000000000000}"/>
          </ac:spMkLst>
        </pc:spChg>
        <pc:picChg chg="del">
          <ac:chgData name="Gasteiger, Cassidy M" userId="49e4247d-81de-4625-ae16-f189e0b7e529" providerId="ADAL" clId="{EFB976C6-EC52-4602-90C8-86B8954E5255}" dt="2023-03-28T19:16:43.069" v="6325" actId="478"/>
          <ac:picMkLst>
            <pc:docMk/>
            <pc:sldMk cId="620994382" sldId="363"/>
            <ac:picMk id="18" creationId="{6163D32A-62D4-FC85-AAD1-E2B5DCF0AEA9}"/>
          </ac:picMkLst>
        </pc:picChg>
        <pc:cxnChg chg="del">
          <ac:chgData name="Gasteiger, Cassidy M" userId="49e4247d-81de-4625-ae16-f189e0b7e529" providerId="ADAL" clId="{EFB976C6-EC52-4602-90C8-86B8954E5255}" dt="2023-03-28T19:16:43.069" v="6325" actId="478"/>
          <ac:cxnSpMkLst>
            <pc:docMk/>
            <pc:sldMk cId="620994382" sldId="363"/>
            <ac:cxnSpMk id="5" creationId="{61F86580-E133-6BAC-DF2E-BB5D8C772FFA}"/>
          </ac:cxnSpMkLst>
        </pc:cxnChg>
        <pc:cxnChg chg="del">
          <ac:chgData name="Gasteiger, Cassidy M" userId="49e4247d-81de-4625-ae16-f189e0b7e529" providerId="ADAL" clId="{EFB976C6-EC52-4602-90C8-86B8954E5255}" dt="2023-03-28T19:16:43.069" v="6325" actId="478"/>
          <ac:cxnSpMkLst>
            <pc:docMk/>
            <pc:sldMk cId="620994382" sldId="363"/>
            <ac:cxnSpMk id="8" creationId="{75328249-F130-CA00-4AA8-9241193B8BB9}"/>
          </ac:cxnSpMkLst>
        </pc:cxnChg>
        <pc:cxnChg chg="del">
          <ac:chgData name="Gasteiger, Cassidy M" userId="49e4247d-81de-4625-ae16-f189e0b7e529" providerId="ADAL" clId="{EFB976C6-EC52-4602-90C8-86B8954E5255}" dt="2023-03-28T19:16:43.069" v="6325" actId="478"/>
          <ac:cxnSpMkLst>
            <pc:docMk/>
            <pc:sldMk cId="620994382" sldId="363"/>
            <ac:cxnSpMk id="12" creationId="{3FC6E5F1-E061-1EE3-1E15-C2C7D55D94B3}"/>
          </ac:cxnSpMkLst>
        </pc:cxnChg>
      </pc:sldChg>
      <pc:sldChg chg="addSp delSp modSp add mod ord">
        <pc:chgData name="Gasteiger, Cassidy M" userId="49e4247d-81de-4625-ae16-f189e0b7e529" providerId="ADAL" clId="{EFB976C6-EC52-4602-90C8-86B8954E5255}" dt="2023-03-30T23:31:25.840" v="33040"/>
        <pc:sldMkLst>
          <pc:docMk/>
          <pc:sldMk cId="1546357749" sldId="364"/>
        </pc:sldMkLst>
        <pc:spChg chg="mod">
          <ac:chgData name="Gasteiger, Cassidy M" userId="49e4247d-81de-4625-ae16-f189e0b7e529" providerId="ADAL" clId="{EFB976C6-EC52-4602-90C8-86B8954E5255}" dt="2023-03-28T19:20:44.690" v="7556" actId="20577"/>
          <ac:spMkLst>
            <pc:docMk/>
            <pc:sldMk cId="1546357749" sldId="364"/>
            <ac:spMk id="2" creationId="{35376E90-68BC-6E98-CA7E-E6B31CACEAC1}"/>
          </ac:spMkLst>
        </pc:spChg>
        <pc:spChg chg="add mod">
          <ac:chgData name="Gasteiger, Cassidy M" userId="49e4247d-81de-4625-ae16-f189e0b7e529" providerId="ADAL" clId="{EFB976C6-EC52-4602-90C8-86B8954E5255}" dt="2023-03-30T23:31:25.840" v="33040"/>
          <ac:spMkLst>
            <pc:docMk/>
            <pc:sldMk cId="1546357749" sldId="364"/>
            <ac:spMk id="3" creationId="{48B3873A-9E28-0E13-C5A5-B1078B738028}"/>
          </ac:spMkLst>
        </pc:spChg>
        <pc:spChg chg="del">
          <ac:chgData name="Gasteiger, Cassidy M" userId="49e4247d-81de-4625-ae16-f189e0b7e529" providerId="ADAL" clId="{EFB976C6-EC52-4602-90C8-86B8954E5255}" dt="2023-03-29T16:14:29.229" v="11051" actId="478"/>
          <ac:spMkLst>
            <pc:docMk/>
            <pc:sldMk cId="1546357749" sldId="364"/>
            <ac:spMk id="22" creationId="{055ACA3A-44A1-BD78-3D30-E67791B35AB2}"/>
          </ac:spMkLst>
        </pc:spChg>
        <pc:spChg chg="del">
          <ac:chgData name="Gasteiger, Cassidy M" userId="49e4247d-81de-4625-ae16-f189e0b7e529" providerId="ADAL" clId="{EFB976C6-EC52-4602-90C8-86B8954E5255}" dt="2023-03-29T16:14:28.412" v="11050" actId="478"/>
          <ac:spMkLst>
            <pc:docMk/>
            <pc:sldMk cId="1546357749" sldId="364"/>
            <ac:spMk id="23" creationId="{D6B37435-BDEA-0FCE-3800-D755A96430BB}"/>
          </ac:spMkLst>
        </pc:spChg>
        <pc:spChg chg="del">
          <ac:chgData name="Gasteiger, Cassidy M" userId="49e4247d-81de-4625-ae16-f189e0b7e529" providerId="ADAL" clId="{EFB976C6-EC52-4602-90C8-86B8954E5255}" dt="2023-03-29T16:14:27.768" v="11049" actId="478"/>
          <ac:spMkLst>
            <pc:docMk/>
            <pc:sldMk cId="1546357749" sldId="364"/>
            <ac:spMk id="25" creationId="{723ACA8C-48D6-8749-9ED2-389E19BDAE9D}"/>
          </ac:spMkLst>
        </pc:spChg>
        <pc:spChg chg="mod">
          <ac:chgData name="Gasteiger, Cassidy M" userId="49e4247d-81de-4625-ae16-f189e0b7e529" providerId="ADAL" clId="{EFB976C6-EC52-4602-90C8-86B8954E5255}" dt="2023-03-28T19:20:37.320" v="7545" actId="20577"/>
          <ac:spMkLst>
            <pc:docMk/>
            <pc:sldMk cId="1546357749" sldId="364"/>
            <ac:spMk id="235" creationId="{00000000-0000-0000-0000-000000000000}"/>
          </ac:spMkLst>
        </pc:spChg>
        <pc:picChg chg="del">
          <ac:chgData name="Gasteiger, Cassidy M" userId="49e4247d-81de-4625-ae16-f189e0b7e529" providerId="ADAL" clId="{EFB976C6-EC52-4602-90C8-86B8954E5255}" dt="2023-03-29T16:14:24.502" v="11048" actId="478"/>
          <ac:picMkLst>
            <pc:docMk/>
            <pc:sldMk cId="1546357749" sldId="364"/>
            <ac:picMk id="24" creationId="{BDD220A4-EE0F-D161-786A-2AD8A644D285}"/>
          </ac:picMkLst>
        </pc:picChg>
      </pc:sldChg>
      <pc:sldChg chg="del">
        <pc:chgData name="Gasteiger, Cassidy M" userId="49e4247d-81de-4625-ae16-f189e0b7e529" providerId="ADAL" clId="{EFB976C6-EC52-4602-90C8-86B8954E5255}" dt="2023-03-31T03:33:57.767" v="41570" actId="2696"/>
        <pc:sldMkLst>
          <pc:docMk/>
          <pc:sldMk cId="751250188" sldId="579"/>
        </pc:sldMkLst>
      </pc:sldChg>
      <pc:sldChg chg="addSp delSp modSp mod delAnim modAnim">
        <pc:chgData name="Gasteiger, Cassidy M" userId="49e4247d-81de-4625-ae16-f189e0b7e529" providerId="ADAL" clId="{EFB976C6-EC52-4602-90C8-86B8954E5255}" dt="2023-03-30T15:24:17.143" v="23069"/>
        <pc:sldMkLst>
          <pc:docMk/>
          <pc:sldMk cId="4213173733" sldId="741"/>
        </pc:sldMkLst>
        <pc:spChg chg="mod topLvl">
          <ac:chgData name="Gasteiger, Cassidy M" userId="49e4247d-81de-4625-ae16-f189e0b7e529" providerId="ADAL" clId="{EFB976C6-EC52-4602-90C8-86B8954E5255}" dt="2023-03-30T15:12:32.999" v="22191" actId="164"/>
          <ac:spMkLst>
            <pc:docMk/>
            <pc:sldMk cId="4213173733" sldId="741"/>
            <ac:spMk id="2" creationId="{6F1BB0E7-3625-4C3A-AC70-3571705DE1F6}"/>
          </ac:spMkLst>
        </pc:spChg>
        <pc:spChg chg="mod">
          <ac:chgData name="Gasteiger, Cassidy M" userId="49e4247d-81de-4625-ae16-f189e0b7e529" providerId="ADAL" clId="{EFB976C6-EC52-4602-90C8-86B8954E5255}" dt="2023-03-30T15:12:32.999" v="22191" actId="164"/>
          <ac:spMkLst>
            <pc:docMk/>
            <pc:sldMk cId="4213173733" sldId="741"/>
            <ac:spMk id="10" creationId="{BFC10606-DB72-40D2-83A8-9FD9AF12F144}"/>
          </ac:spMkLst>
        </pc:spChg>
        <pc:spChg chg="add del mod">
          <ac:chgData name="Gasteiger, Cassidy M" userId="49e4247d-81de-4625-ae16-f189e0b7e529" providerId="ADAL" clId="{EFB976C6-EC52-4602-90C8-86B8954E5255}" dt="2023-03-29T02:49:10.857" v="10402" actId="478"/>
          <ac:spMkLst>
            <pc:docMk/>
            <pc:sldMk cId="4213173733" sldId="741"/>
            <ac:spMk id="25" creationId="{13070328-8DD9-90B1-1886-E9E8214F59BF}"/>
          </ac:spMkLst>
        </pc:spChg>
        <pc:spChg chg="add mod">
          <ac:chgData name="Gasteiger, Cassidy M" userId="49e4247d-81de-4625-ae16-f189e0b7e529" providerId="ADAL" clId="{EFB976C6-EC52-4602-90C8-86B8954E5255}" dt="2023-03-29T18:25:26.472" v="12897" actId="2711"/>
          <ac:spMkLst>
            <pc:docMk/>
            <pc:sldMk cId="4213173733" sldId="741"/>
            <ac:spMk id="26" creationId="{03FE87BA-257D-BFFB-B428-DEAE5B5DCFFD}"/>
          </ac:spMkLst>
        </pc:spChg>
        <pc:spChg chg="mod">
          <ac:chgData name="Gasteiger, Cassidy M" userId="49e4247d-81de-4625-ae16-f189e0b7e529" providerId="ADAL" clId="{EFB976C6-EC52-4602-90C8-86B8954E5255}" dt="2023-03-30T15:06:47.711" v="22004" actId="948"/>
          <ac:spMkLst>
            <pc:docMk/>
            <pc:sldMk cId="4213173733" sldId="741"/>
            <ac:spMk id="36" creationId="{66C98474-7DE2-C50A-0247-1322CDFF8CF5}"/>
          </ac:spMkLst>
        </pc:spChg>
        <pc:spChg chg="mod">
          <ac:chgData name="Gasteiger, Cassidy M" userId="49e4247d-81de-4625-ae16-f189e0b7e529" providerId="ADAL" clId="{EFB976C6-EC52-4602-90C8-86B8954E5255}" dt="2023-03-30T15:04:12.378" v="21973" actId="208"/>
          <ac:spMkLst>
            <pc:docMk/>
            <pc:sldMk cId="4213173733" sldId="741"/>
            <ac:spMk id="37" creationId="{53421494-1319-9F38-62EE-D2C39F6A286A}"/>
          </ac:spMkLst>
        </pc:spChg>
        <pc:spChg chg="mod">
          <ac:chgData name="Gasteiger, Cassidy M" userId="49e4247d-81de-4625-ae16-f189e0b7e529" providerId="ADAL" clId="{EFB976C6-EC52-4602-90C8-86B8954E5255}" dt="2023-03-30T15:04:17.911" v="21975" actId="208"/>
          <ac:spMkLst>
            <pc:docMk/>
            <pc:sldMk cId="4213173733" sldId="741"/>
            <ac:spMk id="38" creationId="{70BE31F0-912F-B00E-C653-7CFCA20B7C6D}"/>
          </ac:spMkLst>
        </pc:spChg>
        <pc:spChg chg="mod">
          <ac:chgData name="Gasteiger, Cassidy M" userId="49e4247d-81de-4625-ae16-f189e0b7e529" providerId="ADAL" clId="{EFB976C6-EC52-4602-90C8-86B8954E5255}" dt="2023-03-30T15:11:39.694" v="22171" actId="20577"/>
          <ac:spMkLst>
            <pc:docMk/>
            <pc:sldMk cId="4213173733" sldId="741"/>
            <ac:spMk id="40" creationId="{18CBA8CF-6309-270D-B7F1-0A30544AB5A1}"/>
          </ac:spMkLst>
        </pc:spChg>
        <pc:spChg chg="mod">
          <ac:chgData name="Gasteiger, Cassidy M" userId="49e4247d-81de-4625-ae16-f189e0b7e529" providerId="ADAL" clId="{EFB976C6-EC52-4602-90C8-86B8954E5255}" dt="2023-03-30T15:02:11.434" v="21958" actId="208"/>
          <ac:spMkLst>
            <pc:docMk/>
            <pc:sldMk cId="4213173733" sldId="741"/>
            <ac:spMk id="41" creationId="{50B62B97-73BD-A570-A053-43C52FCAA970}"/>
          </ac:spMkLst>
        </pc:spChg>
        <pc:spChg chg="mod">
          <ac:chgData name="Gasteiger, Cassidy M" userId="49e4247d-81de-4625-ae16-f189e0b7e529" providerId="ADAL" clId="{EFB976C6-EC52-4602-90C8-86B8954E5255}" dt="2023-03-30T15:02:17.294" v="21960" actId="207"/>
          <ac:spMkLst>
            <pc:docMk/>
            <pc:sldMk cId="4213173733" sldId="741"/>
            <ac:spMk id="42" creationId="{7E4A4763-0407-3C8E-C4C6-F0B143B9A849}"/>
          </ac:spMkLst>
        </pc:spChg>
        <pc:spChg chg="add mod">
          <ac:chgData name="Gasteiger, Cassidy M" userId="49e4247d-81de-4625-ae16-f189e0b7e529" providerId="ADAL" clId="{EFB976C6-EC52-4602-90C8-86B8954E5255}" dt="2023-03-30T15:12:32.999" v="22191" actId="164"/>
          <ac:spMkLst>
            <pc:docMk/>
            <pc:sldMk cId="4213173733" sldId="741"/>
            <ac:spMk id="43" creationId="{CA1101AC-4681-C5EE-4425-436080EA17B5}"/>
          </ac:spMkLst>
        </pc:spChg>
        <pc:spChg chg="add mod">
          <ac:chgData name="Gasteiger, Cassidy M" userId="49e4247d-81de-4625-ae16-f189e0b7e529" providerId="ADAL" clId="{EFB976C6-EC52-4602-90C8-86B8954E5255}" dt="2023-03-30T15:12:32.999" v="22191" actId="164"/>
          <ac:spMkLst>
            <pc:docMk/>
            <pc:sldMk cId="4213173733" sldId="741"/>
            <ac:spMk id="44" creationId="{65AFC3D2-E193-638B-5988-3C4965F851A0}"/>
          </ac:spMkLst>
        </pc:spChg>
        <pc:spChg chg="add mod">
          <ac:chgData name="Gasteiger, Cassidy M" userId="49e4247d-81de-4625-ae16-f189e0b7e529" providerId="ADAL" clId="{EFB976C6-EC52-4602-90C8-86B8954E5255}" dt="2023-03-30T15:12:32.999" v="22191" actId="164"/>
          <ac:spMkLst>
            <pc:docMk/>
            <pc:sldMk cId="4213173733" sldId="741"/>
            <ac:spMk id="45" creationId="{40FB942D-522A-2EB4-647E-86E8AE46C841}"/>
          </ac:spMkLst>
        </pc:spChg>
        <pc:spChg chg="mod">
          <ac:chgData name="Gasteiger, Cassidy M" userId="49e4247d-81de-4625-ae16-f189e0b7e529" providerId="ADAL" clId="{EFB976C6-EC52-4602-90C8-86B8954E5255}" dt="2023-03-30T15:03:01.131" v="21963" actId="165"/>
          <ac:spMkLst>
            <pc:docMk/>
            <pc:sldMk cId="4213173733" sldId="741"/>
            <ac:spMk id="47" creationId="{CBD27349-FC16-4186-AE8D-4166E49A06E7}"/>
          </ac:spMkLst>
        </pc:spChg>
        <pc:spChg chg="mod">
          <ac:chgData name="Gasteiger, Cassidy M" userId="49e4247d-81de-4625-ae16-f189e0b7e529" providerId="ADAL" clId="{EFB976C6-EC52-4602-90C8-86B8954E5255}" dt="2023-03-30T15:03:01.131" v="21963" actId="165"/>
          <ac:spMkLst>
            <pc:docMk/>
            <pc:sldMk cId="4213173733" sldId="741"/>
            <ac:spMk id="48" creationId="{CCB70F78-A9BA-4161-93D7-E8737F10A098}"/>
          </ac:spMkLst>
        </pc:spChg>
        <pc:spChg chg="mod">
          <ac:chgData name="Gasteiger, Cassidy M" userId="49e4247d-81de-4625-ae16-f189e0b7e529" providerId="ADAL" clId="{EFB976C6-EC52-4602-90C8-86B8954E5255}" dt="2023-03-30T15:03:12.561" v="21965" actId="207"/>
          <ac:spMkLst>
            <pc:docMk/>
            <pc:sldMk cId="4213173733" sldId="741"/>
            <ac:spMk id="49" creationId="{5A3DD685-D0F4-423F-8F2A-BAC47042262F}"/>
          </ac:spMkLst>
        </pc:spChg>
        <pc:spChg chg="add mod">
          <ac:chgData name="Gasteiger, Cassidy M" userId="49e4247d-81de-4625-ae16-f189e0b7e529" providerId="ADAL" clId="{EFB976C6-EC52-4602-90C8-86B8954E5255}" dt="2023-03-30T15:12:23.261" v="22172"/>
          <ac:spMkLst>
            <pc:docMk/>
            <pc:sldMk cId="4213173733" sldId="741"/>
            <ac:spMk id="50" creationId="{9F024DEB-600A-7791-30D2-AD8DEA4EEB56}"/>
          </ac:spMkLst>
        </pc:spChg>
        <pc:spChg chg="add mod">
          <ac:chgData name="Gasteiger, Cassidy M" userId="49e4247d-81de-4625-ae16-f189e0b7e529" providerId="ADAL" clId="{EFB976C6-EC52-4602-90C8-86B8954E5255}" dt="2023-03-30T15:12:23.261" v="22172"/>
          <ac:spMkLst>
            <pc:docMk/>
            <pc:sldMk cId="4213173733" sldId="741"/>
            <ac:spMk id="51" creationId="{35884E62-5751-4301-B6DD-35DEE94839B8}"/>
          </ac:spMkLst>
        </pc:spChg>
        <pc:spChg chg="mod">
          <ac:chgData name="Gasteiger, Cassidy M" userId="49e4247d-81de-4625-ae16-f189e0b7e529" providerId="ADAL" clId="{EFB976C6-EC52-4602-90C8-86B8954E5255}" dt="2023-03-30T15:24:17.143" v="23069"/>
          <ac:spMkLst>
            <pc:docMk/>
            <pc:sldMk cId="4213173733" sldId="741"/>
            <ac:spMk id="54" creationId="{20EF6069-E05A-3BA2-6A3C-3B30B85ADD12}"/>
          </ac:spMkLst>
        </pc:spChg>
        <pc:spChg chg="mod">
          <ac:chgData name="Gasteiger, Cassidy M" userId="49e4247d-81de-4625-ae16-f189e0b7e529" providerId="ADAL" clId="{EFB976C6-EC52-4602-90C8-86B8954E5255}" dt="2023-03-30T15:24:17.143" v="23069"/>
          <ac:spMkLst>
            <pc:docMk/>
            <pc:sldMk cId="4213173733" sldId="741"/>
            <ac:spMk id="55" creationId="{9A8BCA9F-3843-B6A1-9044-1279F40A162C}"/>
          </ac:spMkLst>
        </pc:spChg>
        <pc:spChg chg="mod">
          <ac:chgData name="Gasteiger, Cassidy M" userId="49e4247d-81de-4625-ae16-f189e0b7e529" providerId="ADAL" clId="{EFB976C6-EC52-4602-90C8-86B8954E5255}" dt="2023-03-29T02:50:21.341" v="10456" actId="165"/>
          <ac:spMkLst>
            <pc:docMk/>
            <pc:sldMk cId="4213173733" sldId="741"/>
            <ac:spMk id="86" creationId="{C630130E-F198-4AB7-A797-A82E40E57C2F}"/>
          </ac:spMkLst>
        </pc:spChg>
        <pc:spChg chg="del">
          <ac:chgData name="Gasteiger, Cassidy M" userId="49e4247d-81de-4625-ae16-f189e0b7e529" providerId="ADAL" clId="{EFB976C6-EC52-4602-90C8-86B8954E5255}" dt="2023-03-29T02:49:19.877" v="10404" actId="478"/>
          <ac:spMkLst>
            <pc:docMk/>
            <pc:sldMk cId="4213173733" sldId="741"/>
            <ac:spMk id="100" creationId="{39A44199-0577-48E0-8DCE-DDD0676ECAB6}"/>
          </ac:spMkLst>
        </pc:spChg>
        <pc:spChg chg="del">
          <ac:chgData name="Gasteiger, Cassidy M" userId="49e4247d-81de-4625-ae16-f189e0b7e529" providerId="ADAL" clId="{EFB976C6-EC52-4602-90C8-86B8954E5255}" dt="2023-03-29T02:49:08.383" v="10401" actId="478"/>
          <ac:spMkLst>
            <pc:docMk/>
            <pc:sldMk cId="4213173733" sldId="741"/>
            <ac:spMk id="101" creationId="{1D8099A6-7505-48A7-B1C6-6D30E0B4CDB6}"/>
          </ac:spMkLst>
        </pc:spChg>
        <pc:spChg chg="mod">
          <ac:chgData name="Gasteiger, Cassidy M" userId="49e4247d-81de-4625-ae16-f189e0b7e529" providerId="ADAL" clId="{EFB976C6-EC52-4602-90C8-86B8954E5255}" dt="2023-03-29T02:50:21.341" v="10456" actId="165"/>
          <ac:spMkLst>
            <pc:docMk/>
            <pc:sldMk cId="4213173733" sldId="741"/>
            <ac:spMk id="104" creationId="{7AD3E596-6374-4EA0-B9B7-01529E5C3DA6}"/>
          </ac:spMkLst>
        </pc:spChg>
        <pc:spChg chg="mod">
          <ac:chgData name="Gasteiger, Cassidy M" userId="49e4247d-81de-4625-ae16-f189e0b7e529" providerId="ADAL" clId="{EFB976C6-EC52-4602-90C8-86B8954E5255}" dt="2023-03-29T02:50:21.341" v="10456" actId="165"/>
          <ac:spMkLst>
            <pc:docMk/>
            <pc:sldMk cId="4213173733" sldId="741"/>
            <ac:spMk id="105" creationId="{342E9D25-063D-4365-AC5E-BCC73E93ABAB}"/>
          </ac:spMkLst>
        </pc:spChg>
        <pc:spChg chg="mod">
          <ac:chgData name="Gasteiger, Cassidy M" userId="49e4247d-81de-4625-ae16-f189e0b7e529" providerId="ADAL" clId="{EFB976C6-EC52-4602-90C8-86B8954E5255}" dt="2023-03-29T02:51:55.477" v="10484" actId="1076"/>
          <ac:spMkLst>
            <pc:docMk/>
            <pc:sldMk cId="4213173733" sldId="741"/>
            <ac:spMk id="107" creationId="{FA7759E8-7ED3-422A-AC3D-45A58C14BEF8}"/>
          </ac:spMkLst>
        </pc:spChg>
        <pc:spChg chg="mod">
          <ac:chgData name="Gasteiger, Cassidy M" userId="49e4247d-81de-4625-ae16-f189e0b7e529" providerId="ADAL" clId="{EFB976C6-EC52-4602-90C8-86B8954E5255}" dt="2023-03-29T02:52:00.257" v="10485" actId="1076"/>
          <ac:spMkLst>
            <pc:docMk/>
            <pc:sldMk cId="4213173733" sldId="741"/>
            <ac:spMk id="108" creationId="{35C5AA7D-89A8-43E8-A8E3-98EDA0BC719E}"/>
          </ac:spMkLst>
        </pc:spChg>
        <pc:spChg chg="del mod">
          <ac:chgData name="Gasteiger, Cassidy M" userId="49e4247d-81de-4625-ae16-f189e0b7e529" providerId="ADAL" clId="{EFB976C6-EC52-4602-90C8-86B8954E5255}" dt="2023-03-29T02:50:50.231" v="10467" actId="478"/>
          <ac:spMkLst>
            <pc:docMk/>
            <pc:sldMk cId="4213173733" sldId="741"/>
            <ac:spMk id="110" creationId="{EAE73EE2-7F51-4795-A311-0E5460EF5A41}"/>
          </ac:spMkLst>
        </pc:spChg>
        <pc:spChg chg="del mod">
          <ac:chgData name="Gasteiger, Cassidy M" userId="49e4247d-81de-4625-ae16-f189e0b7e529" providerId="ADAL" clId="{EFB976C6-EC52-4602-90C8-86B8954E5255}" dt="2023-03-29T02:50:47.415" v="10464" actId="478"/>
          <ac:spMkLst>
            <pc:docMk/>
            <pc:sldMk cId="4213173733" sldId="741"/>
            <ac:spMk id="111" creationId="{249DFE85-24E6-400A-92A3-7BF704160243}"/>
          </ac:spMkLst>
        </pc:spChg>
        <pc:spChg chg="mod">
          <ac:chgData name="Gasteiger, Cassidy M" userId="49e4247d-81de-4625-ae16-f189e0b7e529" providerId="ADAL" clId="{EFB976C6-EC52-4602-90C8-86B8954E5255}" dt="2023-03-30T15:12:32.999" v="22191" actId="164"/>
          <ac:spMkLst>
            <pc:docMk/>
            <pc:sldMk cId="4213173733" sldId="741"/>
            <ac:spMk id="137" creationId="{171C38C8-FE34-4577-B837-34C2FBB5325F}"/>
          </ac:spMkLst>
        </pc:spChg>
        <pc:spChg chg="del mod">
          <ac:chgData name="Gasteiger, Cassidy M" userId="49e4247d-81de-4625-ae16-f189e0b7e529" providerId="ADAL" clId="{EFB976C6-EC52-4602-90C8-86B8954E5255}" dt="2023-03-29T02:50:52.137" v="10468" actId="478"/>
          <ac:spMkLst>
            <pc:docMk/>
            <pc:sldMk cId="4213173733" sldId="741"/>
            <ac:spMk id="140" creationId="{CB33C5CA-FB74-4443-BBBB-1FB9350CF47E}"/>
          </ac:spMkLst>
        </pc:spChg>
        <pc:spChg chg="del mod">
          <ac:chgData name="Gasteiger, Cassidy M" userId="49e4247d-81de-4625-ae16-f189e0b7e529" providerId="ADAL" clId="{EFB976C6-EC52-4602-90C8-86B8954E5255}" dt="2023-03-29T02:50:55.837" v="10471" actId="478"/>
          <ac:spMkLst>
            <pc:docMk/>
            <pc:sldMk cId="4213173733" sldId="741"/>
            <ac:spMk id="141" creationId="{D418F55D-429B-440D-AFA1-117E306A5796}"/>
          </ac:spMkLst>
        </pc:spChg>
        <pc:spChg chg="mod">
          <ac:chgData name="Gasteiger, Cassidy M" userId="49e4247d-81de-4625-ae16-f189e0b7e529" providerId="ADAL" clId="{EFB976C6-EC52-4602-90C8-86B8954E5255}" dt="2023-03-29T02:50:21.341" v="10456" actId="165"/>
          <ac:spMkLst>
            <pc:docMk/>
            <pc:sldMk cId="4213173733" sldId="741"/>
            <ac:spMk id="142" creationId="{96FDF9CD-6931-4352-A2D0-739618240921}"/>
          </ac:spMkLst>
        </pc:spChg>
        <pc:spChg chg="mod">
          <ac:chgData name="Gasteiger, Cassidy M" userId="49e4247d-81de-4625-ae16-f189e0b7e529" providerId="ADAL" clId="{EFB976C6-EC52-4602-90C8-86B8954E5255}" dt="2023-03-29T02:50:21.341" v="10456" actId="165"/>
          <ac:spMkLst>
            <pc:docMk/>
            <pc:sldMk cId="4213173733" sldId="741"/>
            <ac:spMk id="174" creationId="{96FDF9CD-6931-4352-A2D0-739618240921}"/>
          </ac:spMkLst>
        </pc:spChg>
        <pc:spChg chg="mod">
          <ac:chgData name="Gasteiger, Cassidy M" userId="49e4247d-81de-4625-ae16-f189e0b7e529" providerId="ADAL" clId="{EFB976C6-EC52-4602-90C8-86B8954E5255}" dt="2023-03-30T15:03:28.815" v="21967" actId="207"/>
          <ac:spMkLst>
            <pc:docMk/>
            <pc:sldMk cId="4213173733" sldId="741"/>
            <ac:spMk id="215" creationId="{53A4501B-19DE-4901-BD7D-3BC96EBC0C12}"/>
          </ac:spMkLst>
        </pc:spChg>
        <pc:spChg chg="mod">
          <ac:chgData name="Gasteiger, Cassidy M" userId="49e4247d-81de-4625-ae16-f189e0b7e529" providerId="ADAL" clId="{EFB976C6-EC52-4602-90C8-86B8954E5255}" dt="2023-03-30T15:03:52.696" v="21970" actId="207"/>
          <ac:spMkLst>
            <pc:docMk/>
            <pc:sldMk cId="4213173733" sldId="741"/>
            <ac:spMk id="216" creationId="{037A49F1-03CA-4F80-B942-E109DD27FC13}"/>
          </ac:spMkLst>
        </pc:spChg>
        <pc:spChg chg="mod">
          <ac:chgData name="Gasteiger, Cassidy M" userId="49e4247d-81de-4625-ae16-f189e0b7e529" providerId="ADAL" clId="{EFB976C6-EC52-4602-90C8-86B8954E5255}" dt="2023-03-30T15:03:39.978" v="21969" actId="207"/>
          <ac:spMkLst>
            <pc:docMk/>
            <pc:sldMk cId="4213173733" sldId="741"/>
            <ac:spMk id="217" creationId="{BFA785C7-7428-4C24-B53D-93407AF849C4}"/>
          </ac:spMkLst>
        </pc:spChg>
        <pc:spChg chg="del mod">
          <ac:chgData name="Gasteiger, Cassidy M" userId="49e4247d-81de-4625-ae16-f189e0b7e529" providerId="ADAL" clId="{EFB976C6-EC52-4602-90C8-86B8954E5255}" dt="2023-03-29T02:52:02.348" v="10486" actId="478"/>
          <ac:spMkLst>
            <pc:docMk/>
            <pc:sldMk cId="4213173733" sldId="741"/>
            <ac:spMk id="218" creationId="{A0C4C7FB-429A-43DB-9929-E10FDF8C7551}"/>
          </ac:spMkLst>
        </pc:spChg>
        <pc:spChg chg="del mod">
          <ac:chgData name="Gasteiger, Cassidy M" userId="49e4247d-81de-4625-ae16-f189e0b7e529" providerId="ADAL" clId="{EFB976C6-EC52-4602-90C8-86B8954E5255}" dt="2023-03-29T02:52:12.017" v="10490" actId="478"/>
          <ac:spMkLst>
            <pc:docMk/>
            <pc:sldMk cId="4213173733" sldId="741"/>
            <ac:spMk id="219" creationId="{BE051525-68BD-497B-802B-8F6C84F68515}"/>
          </ac:spMkLst>
        </pc:spChg>
        <pc:spChg chg="del mod topLvl">
          <ac:chgData name="Gasteiger, Cassidy M" userId="49e4247d-81de-4625-ae16-f189e0b7e529" providerId="ADAL" clId="{EFB976C6-EC52-4602-90C8-86B8954E5255}" dt="2023-03-29T02:52:14.294" v="10491" actId="478"/>
          <ac:spMkLst>
            <pc:docMk/>
            <pc:sldMk cId="4213173733" sldId="741"/>
            <ac:spMk id="220" creationId="{0F9614A3-D517-4E8B-B619-6BCE328F9A1A}"/>
          </ac:spMkLst>
        </pc:spChg>
        <pc:spChg chg="mod">
          <ac:chgData name="Gasteiger, Cassidy M" userId="49e4247d-81de-4625-ae16-f189e0b7e529" providerId="ADAL" clId="{EFB976C6-EC52-4602-90C8-86B8954E5255}" dt="2023-03-30T15:03:58.711" v="21971" actId="1076"/>
          <ac:spMkLst>
            <pc:docMk/>
            <pc:sldMk cId="4213173733" sldId="741"/>
            <ac:spMk id="228" creationId="{2D512D59-3781-48E3-A13F-CB2E612D40B4}"/>
          </ac:spMkLst>
        </pc:spChg>
        <pc:spChg chg="mod">
          <ac:chgData name="Gasteiger, Cassidy M" userId="49e4247d-81de-4625-ae16-f189e0b7e529" providerId="ADAL" clId="{EFB976C6-EC52-4602-90C8-86B8954E5255}" dt="2023-03-30T15:04:44.161" v="21980" actId="207"/>
          <ac:spMkLst>
            <pc:docMk/>
            <pc:sldMk cId="4213173733" sldId="741"/>
            <ac:spMk id="230" creationId="{35D35F89-9FA5-4686-B178-31FCCF43F989}"/>
          </ac:spMkLst>
        </pc:spChg>
        <pc:spChg chg="mod">
          <ac:chgData name="Gasteiger, Cassidy M" userId="49e4247d-81de-4625-ae16-f189e0b7e529" providerId="ADAL" clId="{EFB976C6-EC52-4602-90C8-86B8954E5255}" dt="2023-03-30T15:04:48.511" v="21981" actId="207"/>
          <ac:spMkLst>
            <pc:docMk/>
            <pc:sldMk cId="4213173733" sldId="741"/>
            <ac:spMk id="231" creationId="{864B3B2C-7DF9-4949-80AF-DBD255401E63}"/>
          </ac:spMkLst>
        </pc:spChg>
        <pc:spChg chg="mod">
          <ac:chgData name="Gasteiger, Cassidy M" userId="49e4247d-81de-4625-ae16-f189e0b7e529" providerId="ADAL" clId="{EFB976C6-EC52-4602-90C8-86B8954E5255}" dt="2023-03-30T15:04:56.512" v="21983" actId="207"/>
          <ac:spMkLst>
            <pc:docMk/>
            <pc:sldMk cId="4213173733" sldId="741"/>
            <ac:spMk id="232" creationId="{73771204-58DA-43ED-AF27-ECF0AA35440E}"/>
          </ac:spMkLst>
        </pc:spChg>
        <pc:spChg chg="mod">
          <ac:chgData name="Gasteiger, Cassidy M" userId="49e4247d-81de-4625-ae16-f189e0b7e529" providerId="ADAL" clId="{EFB976C6-EC52-4602-90C8-86B8954E5255}" dt="2023-03-30T15:06:41.174" v="22003" actId="948"/>
          <ac:spMkLst>
            <pc:docMk/>
            <pc:sldMk cId="4213173733" sldId="741"/>
            <ac:spMk id="233" creationId="{1F534466-3862-4676-BEF4-D8757623312E}"/>
          </ac:spMkLst>
        </pc:spChg>
        <pc:spChg chg="mod">
          <ac:chgData name="Gasteiger, Cassidy M" userId="49e4247d-81de-4625-ae16-f189e0b7e529" providerId="ADAL" clId="{EFB976C6-EC52-4602-90C8-86B8954E5255}" dt="2023-03-30T15:04:24.571" v="21977" actId="208"/>
          <ac:spMkLst>
            <pc:docMk/>
            <pc:sldMk cId="4213173733" sldId="741"/>
            <ac:spMk id="234" creationId="{984827AB-107F-4C3A-A7B9-A8D58B80ECC4}"/>
          </ac:spMkLst>
        </pc:spChg>
        <pc:spChg chg="mod">
          <ac:chgData name="Gasteiger, Cassidy M" userId="49e4247d-81de-4625-ae16-f189e0b7e529" providerId="ADAL" clId="{EFB976C6-EC52-4602-90C8-86B8954E5255}" dt="2023-03-30T15:04:31.011" v="21979" actId="208"/>
          <ac:spMkLst>
            <pc:docMk/>
            <pc:sldMk cId="4213173733" sldId="741"/>
            <ac:spMk id="235" creationId="{E92211FB-FF9F-4403-BBF8-912BDA05D2CE}"/>
          </ac:spMkLst>
        </pc:spChg>
        <pc:spChg chg="mod">
          <ac:chgData name="Gasteiger, Cassidy M" userId="49e4247d-81de-4625-ae16-f189e0b7e529" providerId="ADAL" clId="{EFB976C6-EC52-4602-90C8-86B8954E5255}" dt="2023-03-30T15:04:59.432" v="21984" actId="1076"/>
          <ac:spMkLst>
            <pc:docMk/>
            <pc:sldMk cId="4213173733" sldId="741"/>
            <ac:spMk id="243" creationId="{8C5C5BA5-B4F4-4A90-BBA0-32ABFECD5DC4}"/>
          </ac:spMkLst>
        </pc:spChg>
        <pc:spChg chg="mod">
          <ac:chgData name="Gasteiger, Cassidy M" userId="49e4247d-81de-4625-ae16-f189e0b7e529" providerId="ADAL" clId="{EFB976C6-EC52-4602-90C8-86B8954E5255}" dt="2023-03-30T15:12:32.999" v="22191" actId="164"/>
          <ac:spMkLst>
            <pc:docMk/>
            <pc:sldMk cId="4213173733" sldId="741"/>
            <ac:spMk id="315" creationId="{1418A9D6-FADA-4747-97DD-A5558ECCB74E}"/>
          </ac:spMkLst>
        </pc:spChg>
        <pc:spChg chg="del">
          <ac:chgData name="Gasteiger, Cassidy M" userId="49e4247d-81de-4625-ae16-f189e0b7e529" providerId="ADAL" clId="{EFB976C6-EC52-4602-90C8-86B8954E5255}" dt="2023-03-29T02:49:25.898" v="10407" actId="478"/>
          <ac:spMkLst>
            <pc:docMk/>
            <pc:sldMk cId="4213173733" sldId="741"/>
            <ac:spMk id="316" creationId="{B0297E4B-EFE2-4C45-861B-166001BAB3B6}"/>
          </ac:spMkLst>
        </pc:spChg>
        <pc:grpChg chg="del mod topLvl">
          <ac:chgData name="Gasteiger, Cassidy M" userId="49e4247d-81de-4625-ae16-f189e0b7e529" providerId="ADAL" clId="{EFB976C6-EC52-4602-90C8-86B8954E5255}" dt="2023-03-29T02:52:06.157" v="10487" actId="478"/>
          <ac:grpSpMkLst>
            <pc:docMk/>
            <pc:sldMk cId="4213173733" sldId="741"/>
            <ac:grpSpMk id="3" creationId="{038378C6-9BC0-45BF-9645-747AA0052BDE}"/>
          </ac:grpSpMkLst>
        </pc:grpChg>
        <pc:grpChg chg="add del mod topLvl">
          <ac:chgData name="Gasteiger, Cassidy M" userId="49e4247d-81de-4625-ae16-f189e0b7e529" providerId="ADAL" clId="{EFB976C6-EC52-4602-90C8-86B8954E5255}" dt="2023-03-29T02:52:14.294" v="10491" actId="478"/>
          <ac:grpSpMkLst>
            <pc:docMk/>
            <pc:sldMk cId="4213173733" sldId="741"/>
            <ac:grpSpMk id="5" creationId="{9824C508-B860-4753-8267-29C2D6FD183E}"/>
          </ac:grpSpMkLst>
        </pc:grpChg>
        <pc:grpChg chg="add del mod topLvl">
          <ac:chgData name="Gasteiger, Cassidy M" userId="49e4247d-81de-4625-ae16-f189e0b7e529" providerId="ADAL" clId="{EFB976C6-EC52-4602-90C8-86B8954E5255}" dt="2023-03-30T15:12:32.999" v="22191" actId="164"/>
          <ac:grpSpMkLst>
            <pc:docMk/>
            <pc:sldMk cId="4213173733" sldId="741"/>
            <ac:grpSpMk id="6" creationId="{7F1FE7BB-6BA8-4B30-910A-4BB4D3338220}"/>
          </ac:grpSpMkLst>
        </pc:grpChg>
        <pc:grpChg chg="del mod topLvl">
          <ac:chgData name="Gasteiger, Cassidy M" userId="49e4247d-81de-4625-ae16-f189e0b7e529" providerId="ADAL" clId="{EFB976C6-EC52-4602-90C8-86B8954E5255}" dt="2023-03-30T15:03:01.131" v="21963" actId="165"/>
          <ac:grpSpMkLst>
            <pc:docMk/>
            <pc:sldMk cId="4213173733" sldId="741"/>
            <ac:grpSpMk id="7" creationId="{3336FAC0-275E-44E1-B6C2-DAD04DA10449}"/>
          </ac:grpSpMkLst>
        </pc:grpChg>
        <pc:grpChg chg="del">
          <ac:chgData name="Gasteiger, Cassidy M" userId="49e4247d-81de-4625-ae16-f189e0b7e529" providerId="ADAL" clId="{EFB976C6-EC52-4602-90C8-86B8954E5255}" dt="2023-03-29T02:49:23.598" v="10406" actId="478"/>
          <ac:grpSpMkLst>
            <pc:docMk/>
            <pc:sldMk cId="4213173733" sldId="741"/>
            <ac:grpSpMk id="8" creationId="{3130CA0B-027C-4132-9921-D83E5931CC26}"/>
          </ac:grpSpMkLst>
        </pc:grpChg>
        <pc:grpChg chg="mod topLvl">
          <ac:chgData name="Gasteiger, Cassidy M" userId="49e4247d-81de-4625-ae16-f189e0b7e529" providerId="ADAL" clId="{EFB976C6-EC52-4602-90C8-86B8954E5255}" dt="2023-03-30T15:12:32.999" v="22191" actId="164"/>
          <ac:grpSpMkLst>
            <pc:docMk/>
            <pc:sldMk cId="4213173733" sldId="741"/>
            <ac:grpSpMk id="9" creationId="{BD5CF962-140D-4A59-8D11-83E8F2C5CC55}"/>
          </ac:grpSpMkLst>
        </pc:grpChg>
        <pc:grpChg chg="mod topLvl">
          <ac:chgData name="Gasteiger, Cassidy M" userId="49e4247d-81de-4625-ae16-f189e0b7e529" providerId="ADAL" clId="{EFB976C6-EC52-4602-90C8-86B8954E5255}" dt="2023-03-30T15:12:32.999" v="22191" actId="164"/>
          <ac:grpSpMkLst>
            <pc:docMk/>
            <pc:sldMk cId="4213173733" sldId="741"/>
            <ac:grpSpMk id="11" creationId="{6EC7A222-ACFF-4601-99A2-67E45F22A72C}"/>
          </ac:grpSpMkLst>
        </pc:grpChg>
        <pc:grpChg chg="del">
          <ac:chgData name="Gasteiger, Cassidy M" userId="49e4247d-81de-4625-ae16-f189e0b7e529" providerId="ADAL" clId="{EFB976C6-EC52-4602-90C8-86B8954E5255}" dt="2023-03-29T02:49:22.272" v="10405" actId="478"/>
          <ac:grpSpMkLst>
            <pc:docMk/>
            <pc:sldMk cId="4213173733" sldId="741"/>
            <ac:grpSpMk id="15" creationId="{F1EDE322-7E35-403F-89B7-E093CDBDA851}"/>
          </ac:grpSpMkLst>
        </pc:grpChg>
        <pc:grpChg chg="mod">
          <ac:chgData name="Gasteiger, Cassidy M" userId="49e4247d-81de-4625-ae16-f189e0b7e529" providerId="ADAL" clId="{EFB976C6-EC52-4602-90C8-86B8954E5255}" dt="2023-03-29T02:50:21.341" v="10456" actId="165"/>
          <ac:grpSpMkLst>
            <pc:docMk/>
            <pc:sldMk cId="4213173733" sldId="741"/>
            <ac:grpSpMk id="19" creationId="{626DFF6F-85D0-4126-A330-06B2F83C9ADC}"/>
          </ac:grpSpMkLst>
        </pc:grpChg>
        <pc:grpChg chg="del mod topLvl">
          <ac:chgData name="Gasteiger, Cassidy M" userId="49e4247d-81de-4625-ae16-f189e0b7e529" providerId="ADAL" clId="{EFB976C6-EC52-4602-90C8-86B8954E5255}" dt="2023-03-30T15:05:08.044" v="21985" actId="478"/>
          <ac:grpSpMkLst>
            <pc:docMk/>
            <pc:sldMk cId="4213173733" sldId="741"/>
            <ac:grpSpMk id="20" creationId="{15AFB200-055E-4A5D-AE6C-D4E63D5F2E51}"/>
          </ac:grpSpMkLst>
        </pc:grpChg>
        <pc:grpChg chg="del mod">
          <ac:chgData name="Gasteiger, Cassidy M" userId="49e4247d-81de-4625-ae16-f189e0b7e529" providerId="ADAL" clId="{EFB976C6-EC52-4602-90C8-86B8954E5255}" dt="2023-03-29T02:50:50.231" v="10467" actId="478"/>
          <ac:grpSpMkLst>
            <pc:docMk/>
            <pc:sldMk cId="4213173733" sldId="741"/>
            <ac:grpSpMk id="21" creationId="{D06B4DD1-A3C9-46CA-8F18-1DD7BF5649C7}"/>
          </ac:grpSpMkLst>
        </pc:grpChg>
        <pc:grpChg chg="del mod">
          <ac:chgData name="Gasteiger, Cassidy M" userId="49e4247d-81de-4625-ae16-f189e0b7e529" providerId="ADAL" clId="{EFB976C6-EC52-4602-90C8-86B8954E5255}" dt="2023-03-29T02:50:21.341" v="10456" actId="165"/>
          <ac:grpSpMkLst>
            <pc:docMk/>
            <pc:sldMk cId="4213173733" sldId="741"/>
            <ac:grpSpMk id="27" creationId="{086D6A62-033A-462F-BD72-8687D0482014}"/>
          </ac:grpSpMkLst>
        </pc:grpChg>
        <pc:grpChg chg="del">
          <ac:chgData name="Gasteiger, Cassidy M" userId="49e4247d-81de-4625-ae16-f189e0b7e529" providerId="ADAL" clId="{EFB976C6-EC52-4602-90C8-86B8954E5255}" dt="2023-03-29T02:50:28.207" v="10458" actId="165"/>
          <ac:grpSpMkLst>
            <pc:docMk/>
            <pc:sldMk cId="4213173733" sldId="741"/>
            <ac:grpSpMk id="28" creationId="{3F3E2562-4D02-4AA4-BE31-CD9DF09D8E39}"/>
          </ac:grpSpMkLst>
        </pc:grpChg>
        <pc:grpChg chg="del">
          <ac:chgData name="Gasteiger, Cassidy M" userId="49e4247d-81de-4625-ae16-f189e0b7e529" providerId="ADAL" clId="{EFB976C6-EC52-4602-90C8-86B8954E5255}" dt="2023-03-29T02:50:31.532" v="10459" actId="165"/>
          <ac:grpSpMkLst>
            <pc:docMk/>
            <pc:sldMk cId="4213173733" sldId="741"/>
            <ac:grpSpMk id="29" creationId="{2CF88F52-76DF-47C3-82E9-D2686334FB6F}"/>
          </ac:grpSpMkLst>
        </pc:grpChg>
        <pc:grpChg chg="add mod">
          <ac:chgData name="Gasteiger, Cassidy M" userId="49e4247d-81de-4625-ae16-f189e0b7e529" providerId="ADAL" clId="{EFB976C6-EC52-4602-90C8-86B8954E5255}" dt="2023-03-30T15:12:32.999" v="22191" actId="164"/>
          <ac:grpSpMkLst>
            <pc:docMk/>
            <pc:sldMk cId="4213173733" sldId="741"/>
            <ac:grpSpMk id="35" creationId="{0CA9EC58-DABC-0B43-46A5-85811AE66937}"/>
          </ac:grpSpMkLst>
        </pc:grpChg>
        <pc:grpChg chg="add mod">
          <ac:chgData name="Gasteiger, Cassidy M" userId="49e4247d-81de-4625-ae16-f189e0b7e529" providerId="ADAL" clId="{EFB976C6-EC52-4602-90C8-86B8954E5255}" dt="2023-03-30T15:12:32.999" v="22191" actId="164"/>
          <ac:grpSpMkLst>
            <pc:docMk/>
            <pc:sldMk cId="4213173733" sldId="741"/>
            <ac:grpSpMk id="39" creationId="{5EA97475-22D1-882E-B41A-60EE25E539AD}"/>
          </ac:grpSpMkLst>
        </pc:grpChg>
        <pc:grpChg chg="mod topLvl">
          <ac:chgData name="Gasteiger, Cassidy M" userId="49e4247d-81de-4625-ae16-f189e0b7e529" providerId="ADAL" clId="{EFB976C6-EC52-4602-90C8-86B8954E5255}" dt="2023-03-30T15:12:32.999" v="22191" actId="164"/>
          <ac:grpSpMkLst>
            <pc:docMk/>
            <pc:sldMk cId="4213173733" sldId="741"/>
            <ac:grpSpMk id="46" creationId="{00000000-0000-0000-0000-000000000000}"/>
          </ac:grpSpMkLst>
        </pc:grpChg>
        <pc:grpChg chg="add mod">
          <ac:chgData name="Gasteiger, Cassidy M" userId="49e4247d-81de-4625-ae16-f189e0b7e529" providerId="ADAL" clId="{EFB976C6-EC52-4602-90C8-86B8954E5255}" dt="2023-03-30T15:12:32.999" v="22191" actId="164"/>
          <ac:grpSpMkLst>
            <pc:docMk/>
            <pc:sldMk cId="4213173733" sldId="741"/>
            <ac:grpSpMk id="52" creationId="{B3173F2C-997F-A781-C913-B08CC81C0F66}"/>
          </ac:grpSpMkLst>
        </pc:grpChg>
        <pc:grpChg chg="add mod">
          <ac:chgData name="Gasteiger, Cassidy M" userId="49e4247d-81de-4625-ae16-f189e0b7e529" providerId="ADAL" clId="{EFB976C6-EC52-4602-90C8-86B8954E5255}" dt="2023-03-30T15:24:17.143" v="23069"/>
          <ac:grpSpMkLst>
            <pc:docMk/>
            <pc:sldMk cId="4213173733" sldId="741"/>
            <ac:grpSpMk id="53" creationId="{6D92F10C-C819-C97A-3BF9-08E3EA33FA3E}"/>
          </ac:grpSpMkLst>
        </pc:grpChg>
        <pc:grpChg chg="mod">
          <ac:chgData name="Gasteiger, Cassidy M" userId="49e4247d-81de-4625-ae16-f189e0b7e529" providerId="ADAL" clId="{EFB976C6-EC52-4602-90C8-86B8954E5255}" dt="2023-03-29T02:50:21.341" v="10456" actId="165"/>
          <ac:grpSpMkLst>
            <pc:docMk/>
            <pc:sldMk cId="4213173733" sldId="741"/>
            <ac:grpSpMk id="87" creationId="{0FB71152-A5CF-4E34-8FD2-FB45831C103A}"/>
          </ac:grpSpMkLst>
        </pc:grpChg>
        <pc:grpChg chg="del">
          <ac:chgData name="Gasteiger, Cassidy M" userId="49e4247d-81de-4625-ae16-f189e0b7e529" providerId="ADAL" clId="{EFB976C6-EC52-4602-90C8-86B8954E5255}" dt="2023-03-29T02:48:48.617" v="10400" actId="478"/>
          <ac:grpSpMkLst>
            <pc:docMk/>
            <pc:sldMk cId="4213173733" sldId="741"/>
            <ac:grpSpMk id="97" creationId="{4CD81B90-9DB3-4A42-8CE3-8BD63C534AE7}"/>
          </ac:grpSpMkLst>
        </pc:grpChg>
        <pc:grpChg chg="mod">
          <ac:chgData name="Gasteiger, Cassidy M" userId="49e4247d-81de-4625-ae16-f189e0b7e529" providerId="ADAL" clId="{EFB976C6-EC52-4602-90C8-86B8954E5255}" dt="2023-03-29T02:50:28.207" v="10458" actId="165"/>
          <ac:grpSpMkLst>
            <pc:docMk/>
            <pc:sldMk cId="4213173733" sldId="741"/>
            <ac:grpSpMk id="106" creationId="{EFBAF852-1F03-4F9E-99A4-52F0F9A67BB6}"/>
          </ac:grpSpMkLst>
        </pc:grpChg>
        <pc:grpChg chg="del mod">
          <ac:chgData name="Gasteiger, Cassidy M" userId="49e4247d-81de-4625-ae16-f189e0b7e529" providerId="ADAL" clId="{EFB976C6-EC52-4602-90C8-86B8954E5255}" dt="2023-03-29T02:50:47.415" v="10464" actId="478"/>
          <ac:grpSpMkLst>
            <pc:docMk/>
            <pc:sldMk cId="4213173733" sldId="741"/>
            <ac:grpSpMk id="109" creationId="{AE73A0C9-C299-4168-8362-AB38B450252A}"/>
          </ac:grpSpMkLst>
        </pc:grpChg>
        <pc:grpChg chg="del mod">
          <ac:chgData name="Gasteiger, Cassidy M" userId="49e4247d-81de-4625-ae16-f189e0b7e529" providerId="ADAL" clId="{EFB976C6-EC52-4602-90C8-86B8954E5255}" dt="2023-03-29T02:50:52.137" v="10468" actId="478"/>
          <ac:grpSpMkLst>
            <pc:docMk/>
            <pc:sldMk cId="4213173733" sldId="741"/>
            <ac:grpSpMk id="139" creationId="{2A69C591-3738-4BC2-B316-FDD9EA3A46D6}"/>
          </ac:grpSpMkLst>
        </pc:grpChg>
        <pc:grpChg chg="mod">
          <ac:chgData name="Gasteiger, Cassidy M" userId="49e4247d-81de-4625-ae16-f189e0b7e529" providerId="ADAL" clId="{EFB976C6-EC52-4602-90C8-86B8954E5255}" dt="2023-03-29T02:50:28.207" v="10458" actId="165"/>
          <ac:grpSpMkLst>
            <pc:docMk/>
            <pc:sldMk cId="4213173733" sldId="741"/>
            <ac:grpSpMk id="214" creationId="{72EDD9CD-F71C-4ECF-8133-181ADA665324}"/>
          </ac:grpSpMkLst>
        </pc:grpChg>
        <pc:grpChg chg="del">
          <ac:chgData name="Gasteiger, Cassidy M" userId="49e4247d-81de-4625-ae16-f189e0b7e529" providerId="ADAL" clId="{EFB976C6-EC52-4602-90C8-86B8954E5255}" dt="2023-03-29T02:49:28.598" v="10409" actId="478"/>
          <ac:grpSpMkLst>
            <pc:docMk/>
            <pc:sldMk cId="4213173733" sldId="741"/>
            <ac:grpSpMk id="226" creationId="{A60E9C15-631A-4278-9E92-53E05EBE33CF}"/>
          </ac:grpSpMkLst>
        </pc:grpChg>
        <pc:grpChg chg="del">
          <ac:chgData name="Gasteiger, Cassidy M" userId="49e4247d-81de-4625-ae16-f189e0b7e529" providerId="ADAL" clId="{EFB976C6-EC52-4602-90C8-86B8954E5255}" dt="2023-03-29T02:49:27.219" v="10408" actId="478"/>
          <ac:grpSpMkLst>
            <pc:docMk/>
            <pc:sldMk cId="4213173733" sldId="741"/>
            <ac:grpSpMk id="227" creationId="{1F804F4F-01A3-49A7-B7D7-D6E90811A090}"/>
          </ac:grpSpMkLst>
        </pc:grpChg>
        <pc:grpChg chg="mod">
          <ac:chgData name="Gasteiger, Cassidy M" userId="49e4247d-81de-4625-ae16-f189e0b7e529" providerId="ADAL" clId="{EFB976C6-EC52-4602-90C8-86B8954E5255}" dt="2023-03-29T02:50:31.532" v="10459" actId="165"/>
          <ac:grpSpMkLst>
            <pc:docMk/>
            <pc:sldMk cId="4213173733" sldId="741"/>
            <ac:grpSpMk id="229" creationId="{4AF0FF4D-69EC-4937-822D-ED005543D8DD}"/>
          </ac:grpSpMkLst>
        </pc:grpChg>
        <pc:picChg chg="mod">
          <ac:chgData name="Gasteiger, Cassidy M" userId="49e4247d-81de-4625-ae16-f189e0b7e529" providerId="ADAL" clId="{EFB976C6-EC52-4602-90C8-86B8954E5255}" dt="2023-03-29T02:50:21.341" v="10456" actId="165"/>
          <ac:picMkLst>
            <pc:docMk/>
            <pc:sldMk cId="4213173733" sldId="741"/>
            <ac:picMk id="12" creationId="{2E8EC7CA-D6B5-47C0-A50F-8B85F15C0AC9}"/>
          </ac:picMkLst>
        </pc:picChg>
        <pc:picChg chg="mod">
          <ac:chgData name="Gasteiger, Cassidy M" userId="49e4247d-81de-4625-ae16-f189e0b7e529" providerId="ADAL" clId="{EFB976C6-EC52-4602-90C8-86B8954E5255}" dt="2023-03-29T02:52:00.257" v="10485" actId="1076"/>
          <ac:picMkLst>
            <pc:docMk/>
            <pc:sldMk cId="4213173733" sldId="741"/>
            <ac:picMk id="13" creationId="{2F96EAF0-CBBE-490A-B320-A3BF1A67D1F1}"/>
          </ac:picMkLst>
        </pc:picChg>
        <pc:cxnChg chg="mod">
          <ac:chgData name="Gasteiger, Cassidy M" userId="49e4247d-81de-4625-ae16-f189e0b7e529" providerId="ADAL" clId="{EFB976C6-EC52-4602-90C8-86B8954E5255}" dt="2023-03-30T15:12:32.999" v="22191" actId="164"/>
          <ac:cxnSpMkLst>
            <pc:docMk/>
            <pc:sldMk cId="4213173733" sldId="741"/>
            <ac:cxnSpMk id="18" creationId="{00000000-0000-0000-0000-000000000000}"/>
          </ac:cxnSpMkLst>
        </pc:cxnChg>
      </pc:sldChg>
      <pc:sldChg chg="addSp delSp modSp mod ord">
        <pc:chgData name="Gasteiger, Cassidy M" userId="49e4247d-81de-4625-ae16-f189e0b7e529" providerId="ADAL" clId="{EFB976C6-EC52-4602-90C8-86B8954E5255}" dt="2023-03-31T02:30:03.199" v="39524" actId="1076"/>
        <pc:sldMkLst>
          <pc:docMk/>
          <pc:sldMk cId="1169807257" sldId="752"/>
        </pc:sldMkLst>
        <pc:spChg chg="add mod">
          <ac:chgData name="Gasteiger, Cassidy M" userId="49e4247d-81de-4625-ae16-f189e0b7e529" providerId="ADAL" clId="{EFB976C6-EC52-4602-90C8-86B8954E5255}" dt="2023-03-31T00:52:06.566" v="34403" actId="164"/>
          <ac:spMkLst>
            <pc:docMk/>
            <pc:sldMk cId="1169807257" sldId="752"/>
            <ac:spMk id="2" creationId="{A55F9EEC-1677-346E-9FB2-ED7C85DC2D78}"/>
          </ac:spMkLst>
        </pc:spChg>
        <pc:spChg chg="del">
          <ac:chgData name="Gasteiger, Cassidy M" userId="49e4247d-81de-4625-ae16-f189e0b7e529" providerId="ADAL" clId="{EFB976C6-EC52-4602-90C8-86B8954E5255}" dt="2023-03-29T16:00:10.087" v="10903" actId="478"/>
          <ac:spMkLst>
            <pc:docMk/>
            <pc:sldMk cId="1169807257" sldId="752"/>
            <ac:spMk id="4" creationId="{00000000-0000-0000-0000-000000000000}"/>
          </ac:spMkLst>
        </pc:spChg>
        <pc:spChg chg="add del mod">
          <ac:chgData name="Gasteiger, Cassidy M" userId="49e4247d-81de-4625-ae16-f189e0b7e529" providerId="ADAL" clId="{EFB976C6-EC52-4602-90C8-86B8954E5255}" dt="2023-03-30T19:22:01.362" v="27990" actId="478"/>
          <ac:spMkLst>
            <pc:docMk/>
            <pc:sldMk cId="1169807257" sldId="752"/>
            <ac:spMk id="4" creationId="{13ED2E92-69FE-1734-1B01-31B486A7C418}"/>
          </ac:spMkLst>
        </pc:spChg>
        <pc:spChg chg="add del mod">
          <ac:chgData name="Gasteiger, Cassidy M" userId="49e4247d-81de-4625-ae16-f189e0b7e529" providerId="ADAL" clId="{EFB976C6-EC52-4602-90C8-86B8954E5255}" dt="2023-03-29T16:00:11.626" v="10904" actId="478"/>
          <ac:spMkLst>
            <pc:docMk/>
            <pc:sldMk cId="1169807257" sldId="752"/>
            <ac:spMk id="5" creationId="{0F74B79D-210F-140A-5686-16900E08EAF5}"/>
          </ac:spMkLst>
        </pc:spChg>
        <pc:spChg chg="add mod">
          <ac:chgData name="Gasteiger, Cassidy M" userId="49e4247d-81de-4625-ae16-f189e0b7e529" providerId="ADAL" clId="{EFB976C6-EC52-4602-90C8-86B8954E5255}" dt="2023-03-31T00:52:06.566" v="34403" actId="164"/>
          <ac:spMkLst>
            <pc:docMk/>
            <pc:sldMk cId="1169807257" sldId="752"/>
            <ac:spMk id="5" creationId="{EBFB3DC5-377C-0EED-C6B8-200F4CD58E09}"/>
          </ac:spMkLst>
        </pc:spChg>
        <pc:spChg chg="add mod">
          <ac:chgData name="Gasteiger, Cassidy M" userId="49e4247d-81de-4625-ae16-f189e0b7e529" providerId="ADAL" clId="{EFB976C6-EC52-4602-90C8-86B8954E5255}" dt="2023-03-29T16:00:12.050" v="10905"/>
          <ac:spMkLst>
            <pc:docMk/>
            <pc:sldMk cId="1169807257" sldId="752"/>
            <ac:spMk id="6" creationId="{7C124A64-309C-B728-4201-B3C215BF08F0}"/>
          </ac:spMkLst>
        </pc:spChg>
        <pc:spChg chg="mod">
          <ac:chgData name="Gasteiger, Cassidy M" userId="49e4247d-81de-4625-ae16-f189e0b7e529" providerId="ADAL" clId="{EFB976C6-EC52-4602-90C8-86B8954E5255}" dt="2023-03-29T16:07:23.137" v="10933"/>
          <ac:spMkLst>
            <pc:docMk/>
            <pc:sldMk cId="1169807257" sldId="752"/>
            <ac:spMk id="10" creationId="{DFA8F594-9088-61D9-CEC3-EBAF25E92FB5}"/>
          </ac:spMkLst>
        </pc:spChg>
        <pc:spChg chg="mod">
          <ac:chgData name="Gasteiger, Cassidy M" userId="49e4247d-81de-4625-ae16-f189e0b7e529" providerId="ADAL" clId="{EFB976C6-EC52-4602-90C8-86B8954E5255}" dt="2023-03-29T16:07:23.137" v="10933"/>
          <ac:spMkLst>
            <pc:docMk/>
            <pc:sldMk cId="1169807257" sldId="752"/>
            <ac:spMk id="11" creationId="{05B34CA0-E848-8128-7413-EA4DC963CD58}"/>
          </ac:spMkLst>
        </pc:spChg>
        <pc:spChg chg="add mod">
          <ac:chgData name="Gasteiger, Cassidy M" userId="49e4247d-81de-4625-ae16-f189e0b7e529" providerId="ADAL" clId="{EFB976C6-EC52-4602-90C8-86B8954E5255}" dt="2023-03-31T00:52:12.006" v="34404" actId="164"/>
          <ac:spMkLst>
            <pc:docMk/>
            <pc:sldMk cId="1169807257" sldId="752"/>
            <ac:spMk id="14" creationId="{880C7C07-C278-1913-7913-5841DA2A0E99}"/>
          </ac:spMkLst>
        </pc:spChg>
        <pc:spChg chg="add mod">
          <ac:chgData name="Gasteiger, Cassidy M" userId="49e4247d-81de-4625-ae16-f189e0b7e529" providerId="ADAL" clId="{EFB976C6-EC52-4602-90C8-86B8954E5255}" dt="2023-03-31T00:52:12.006" v="34404" actId="164"/>
          <ac:spMkLst>
            <pc:docMk/>
            <pc:sldMk cId="1169807257" sldId="752"/>
            <ac:spMk id="16" creationId="{F7727B86-C99A-A3B9-E1BB-F8CDAABE88C6}"/>
          </ac:spMkLst>
        </pc:spChg>
        <pc:spChg chg="add mod">
          <ac:chgData name="Gasteiger, Cassidy M" userId="49e4247d-81de-4625-ae16-f189e0b7e529" providerId="ADAL" clId="{EFB976C6-EC52-4602-90C8-86B8954E5255}" dt="2023-03-31T00:52:18.406" v="34406" actId="164"/>
          <ac:spMkLst>
            <pc:docMk/>
            <pc:sldMk cId="1169807257" sldId="752"/>
            <ac:spMk id="19" creationId="{8C1F687A-33FC-B333-FFC6-DC5A13F74E8D}"/>
          </ac:spMkLst>
        </pc:spChg>
        <pc:spChg chg="add del mod">
          <ac:chgData name="Gasteiger, Cassidy M" userId="49e4247d-81de-4625-ae16-f189e0b7e529" providerId="ADAL" clId="{EFB976C6-EC52-4602-90C8-86B8954E5255}" dt="2023-03-29T16:09:34.642" v="11009" actId="478"/>
          <ac:spMkLst>
            <pc:docMk/>
            <pc:sldMk cId="1169807257" sldId="752"/>
            <ac:spMk id="19" creationId="{B949C695-A07E-BCA8-BC22-FE82969E1786}"/>
          </ac:spMkLst>
        </pc:spChg>
        <pc:spChg chg="add del mod">
          <ac:chgData name="Gasteiger, Cassidy M" userId="49e4247d-81de-4625-ae16-f189e0b7e529" providerId="ADAL" clId="{EFB976C6-EC52-4602-90C8-86B8954E5255}" dt="2023-03-29T16:09:07.444" v="10979" actId="478"/>
          <ac:spMkLst>
            <pc:docMk/>
            <pc:sldMk cId="1169807257" sldId="752"/>
            <ac:spMk id="20" creationId="{81C36A22-2F97-3EED-099A-7D883C1E3C65}"/>
          </ac:spMkLst>
        </pc:spChg>
        <pc:spChg chg="add mod">
          <ac:chgData name="Gasteiger, Cassidy M" userId="49e4247d-81de-4625-ae16-f189e0b7e529" providerId="ADAL" clId="{EFB976C6-EC52-4602-90C8-86B8954E5255}" dt="2023-03-31T00:52:18.406" v="34406" actId="164"/>
          <ac:spMkLst>
            <pc:docMk/>
            <pc:sldMk cId="1169807257" sldId="752"/>
            <ac:spMk id="20" creationId="{FE2412EF-E900-5E91-2A08-55C611C8C956}"/>
          </ac:spMkLst>
        </pc:spChg>
        <pc:spChg chg="del">
          <ac:chgData name="Gasteiger, Cassidy M" userId="49e4247d-81de-4625-ae16-f189e0b7e529" providerId="ADAL" clId="{EFB976C6-EC52-4602-90C8-86B8954E5255}" dt="2023-03-29T16:00:48.601" v="10912" actId="478"/>
          <ac:spMkLst>
            <pc:docMk/>
            <pc:sldMk cId="1169807257" sldId="752"/>
            <ac:spMk id="21" creationId="{131DEB49-6185-43CE-81CF-D25C45E62F29}"/>
          </ac:spMkLst>
        </pc:spChg>
        <pc:spChg chg="add mod">
          <ac:chgData name="Gasteiger, Cassidy M" userId="49e4247d-81de-4625-ae16-f189e0b7e529" providerId="ADAL" clId="{EFB976C6-EC52-4602-90C8-86B8954E5255}" dt="2023-03-31T01:22:11.926" v="35190" actId="14100"/>
          <ac:spMkLst>
            <pc:docMk/>
            <pc:sldMk cId="1169807257" sldId="752"/>
            <ac:spMk id="22" creationId="{2A3B7056-CFFF-2B28-0011-901A139BE317}"/>
          </ac:spMkLst>
        </pc:spChg>
        <pc:spChg chg="add mod">
          <ac:chgData name="Gasteiger, Cassidy M" userId="49e4247d-81de-4625-ae16-f189e0b7e529" providerId="ADAL" clId="{EFB976C6-EC52-4602-90C8-86B8954E5255}" dt="2023-03-31T01:22:02.406" v="35188" actId="14100"/>
          <ac:spMkLst>
            <pc:docMk/>
            <pc:sldMk cId="1169807257" sldId="752"/>
            <ac:spMk id="23" creationId="{0C80667E-4F26-E017-3EF1-3A309B1EDF3C}"/>
          </ac:spMkLst>
        </pc:spChg>
        <pc:spChg chg="add mod">
          <ac:chgData name="Gasteiger, Cassidy M" userId="49e4247d-81de-4625-ae16-f189e0b7e529" providerId="ADAL" clId="{EFB976C6-EC52-4602-90C8-86B8954E5255}" dt="2023-03-31T01:22:18.055" v="35192" actId="14100"/>
          <ac:spMkLst>
            <pc:docMk/>
            <pc:sldMk cId="1169807257" sldId="752"/>
            <ac:spMk id="24" creationId="{108B5DFE-B001-9F6C-1338-8A54A77187E1}"/>
          </ac:spMkLst>
        </pc:spChg>
        <pc:spChg chg="add del mod">
          <ac:chgData name="Gasteiger, Cassidy M" userId="49e4247d-81de-4625-ae16-f189e0b7e529" providerId="ADAL" clId="{EFB976C6-EC52-4602-90C8-86B8954E5255}" dt="2023-03-29T19:59:03.566" v="13519" actId="478"/>
          <ac:spMkLst>
            <pc:docMk/>
            <pc:sldMk cId="1169807257" sldId="752"/>
            <ac:spMk id="25" creationId="{30D68374-1E8F-85DD-5188-B76A073FA3E1}"/>
          </ac:spMkLst>
        </pc:spChg>
        <pc:spChg chg="mod">
          <ac:chgData name="Gasteiger, Cassidy M" userId="49e4247d-81de-4625-ae16-f189e0b7e529" providerId="ADAL" clId="{EFB976C6-EC52-4602-90C8-86B8954E5255}" dt="2023-03-30T21:51:15.700" v="32154"/>
          <ac:spMkLst>
            <pc:docMk/>
            <pc:sldMk cId="1169807257" sldId="752"/>
            <ac:spMk id="25" creationId="{5F574E12-D8AE-BACD-1FFD-1D9F3E202A4D}"/>
          </ac:spMkLst>
        </pc:spChg>
        <pc:spChg chg="add mod">
          <ac:chgData name="Gasteiger, Cassidy M" userId="49e4247d-81de-4625-ae16-f189e0b7e529" providerId="ADAL" clId="{EFB976C6-EC52-4602-90C8-86B8954E5255}" dt="2023-03-30T07:01:21.120" v="20241" actId="1037"/>
          <ac:spMkLst>
            <pc:docMk/>
            <pc:sldMk cId="1169807257" sldId="752"/>
            <ac:spMk id="26" creationId="{AC2982E6-238E-9B9E-5116-7482627BA244}"/>
          </ac:spMkLst>
        </pc:spChg>
        <pc:spChg chg="add mod ord">
          <ac:chgData name="Gasteiger, Cassidy M" userId="49e4247d-81de-4625-ae16-f189e0b7e529" providerId="ADAL" clId="{EFB976C6-EC52-4602-90C8-86B8954E5255}" dt="2023-03-30T21:52:34.984" v="32179" actId="1076"/>
          <ac:spMkLst>
            <pc:docMk/>
            <pc:sldMk cId="1169807257" sldId="752"/>
            <ac:spMk id="27" creationId="{04638ED3-1536-3A78-1E41-B66E6DB44344}"/>
          </ac:spMkLst>
        </pc:spChg>
        <pc:spChg chg="mod">
          <ac:chgData name="Gasteiger, Cassidy M" userId="49e4247d-81de-4625-ae16-f189e0b7e529" providerId="ADAL" clId="{EFB976C6-EC52-4602-90C8-86B8954E5255}" dt="2023-03-30T21:51:15.700" v="32154"/>
          <ac:spMkLst>
            <pc:docMk/>
            <pc:sldMk cId="1169807257" sldId="752"/>
            <ac:spMk id="28" creationId="{78F46D4D-9327-87AE-7812-B499782D35B9}"/>
          </ac:spMkLst>
        </pc:spChg>
        <pc:spChg chg="mod">
          <ac:chgData name="Gasteiger, Cassidy M" userId="49e4247d-81de-4625-ae16-f189e0b7e529" providerId="ADAL" clId="{EFB976C6-EC52-4602-90C8-86B8954E5255}" dt="2023-03-30T21:51:50.695" v="32170"/>
          <ac:spMkLst>
            <pc:docMk/>
            <pc:sldMk cId="1169807257" sldId="752"/>
            <ac:spMk id="30" creationId="{646835D4-3B63-1AAE-9A25-0C04ED69BA98}"/>
          </ac:spMkLst>
        </pc:spChg>
        <pc:spChg chg="add mod">
          <ac:chgData name="Gasteiger, Cassidy M" userId="49e4247d-81de-4625-ae16-f189e0b7e529" providerId="ADAL" clId="{EFB976C6-EC52-4602-90C8-86B8954E5255}" dt="2023-03-30T19:17:40.978" v="27683" actId="1076"/>
          <ac:spMkLst>
            <pc:docMk/>
            <pc:sldMk cId="1169807257" sldId="752"/>
            <ac:spMk id="31" creationId="{0B46D1E9-C3D8-6E13-EA92-3583FB01F01A}"/>
          </ac:spMkLst>
        </pc:spChg>
        <pc:spChg chg="mod">
          <ac:chgData name="Gasteiger, Cassidy M" userId="49e4247d-81de-4625-ae16-f189e0b7e529" providerId="ADAL" clId="{EFB976C6-EC52-4602-90C8-86B8954E5255}" dt="2023-03-30T21:51:50.695" v="32170"/>
          <ac:spMkLst>
            <pc:docMk/>
            <pc:sldMk cId="1169807257" sldId="752"/>
            <ac:spMk id="33" creationId="{08F6877A-0FDF-F0B5-F443-CD69B911A7A4}"/>
          </ac:spMkLst>
        </pc:spChg>
        <pc:spChg chg="add mod">
          <ac:chgData name="Gasteiger, Cassidy M" userId="49e4247d-81de-4625-ae16-f189e0b7e529" providerId="ADAL" clId="{EFB976C6-EC52-4602-90C8-86B8954E5255}" dt="2023-03-31T00:52:24.308" v="34408" actId="164"/>
          <ac:spMkLst>
            <pc:docMk/>
            <pc:sldMk cId="1169807257" sldId="752"/>
            <ac:spMk id="34" creationId="{E21B66A9-5A40-BFA5-666C-5A4552A380CE}"/>
          </ac:spMkLst>
        </pc:spChg>
        <pc:spChg chg="add mod">
          <ac:chgData name="Gasteiger, Cassidy M" userId="49e4247d-81de-4625-ae16-f189e0b7e529" providerId="ADAL" clId="{EFB976C6-EC52-4602-90C8-86B8954E5255}" dt="2023-03-31T00:52:24.308" v="34408" actId="164"/>
          <ac:spMkLst>
            <pc:docMk/>
            <pc:sldMk cId="1169807257" sldId="752"/>
            <ac:spMk id="35" creationId="{5CA49D92-8081-2193-3413-A120808E295A}"/>
          </ac:spMkLst>
        </pc:spChg>
        <pc:spChg chg="mod">
          <ac:chgData name="Gasteiger, Cassidy M" userId="49e4247d-81de-4625-ae16-f189e0b7e529" providerId="ADAL" clId="{EFB976C6-EC52-4602-90C8-86B8954E5255}" dt="2023-03-31T02:29:52.731" v="39520" actId="165"/>
          <ac:spMkLst>
            <pc:docMk/>
            <pc:sldMk cId="1169807257" sldId="752"/>
            <ac:spMk id="58" creationId="{5ED461B2-939E-47BC-9B50-0B84C68D05C8}"/>
          </ac:spMkLst>
        </pc:spChg>
        <pc:spChg chg="mod">
          <ac:chgData name="Gasteiger, Cassidy M" userId="49e4247d-81de-4625-ae16-f189e0b7e529" providerId="ADAL" clId="{EFB976C6-EC52-4602-90C8-86B8954E5255}" dt="2023-03-31T02:29:52.731" v="39520" actId="165"/>
          <ac:spMkLst>
            <pc:docMk/>
            <pc:sldMk cId="1169807257" sldId="752"/>
            <ac:spMk id="59" creationId="{DE9E0CD5-CEE2-4DA3-8DA2-C39B7F20DA1E}"/>
          </ac:spMkLst>
        </pc:spChg>
        <pc:spChg chg="mod">
          <ac:chgData name="Gasteiger, Cassidy M" userId="49e4247d-81de-4625-ae16-f189e0b7e529" providerId="ADAL" clId="{EFB976C6-EC52-4602-90C8-86B8954E5255}" dt="2023-03-31T02:29:52.731" v="39520" actId="165"/>
          <ac:spMkLst>
            <pc:docMk/>
            <pc:sldMk cId="1169807257" sldId="752"/>
            <ac:spMk id="60" creationId="{59661C72-48DA-4AF7-8B95-7ABBCEE5B389}"/>
          </ac:spMkLst>
        </pc:spChg>
        <pc:spChg chg="mod">
          <ac:chgData name="Gasteiger, Cassidy M" userId="49e4247d-81de-4625-ae16-f189e0b7e529" providerId="ADAL" clId="{EFB976C6-EC52-4602-90C8-86B8954E5255}" dt="2023-03-31T02:29:52.731" v="39520" actId="165"/>
          <ac:spMkLst>
            <pc:docMk/>
            <pc:sldMk cId="1169807257" sldId="752"/>
            <ac:spMk id="61" creationId="{AB74C3A5-2ED1-427F-A553-3682A3B847DD}"/>
          </ac:spMkLst>
        </pc:spChg>
        <pc:spChg chg="mod">
          <ac:chgData name="Gasteiger, Cassidy M" userId="49e4247d-81de-4625-ae16-f189e0b7e529" providerId="ADAL" clId="{EFB976C6-EC52-4602-90C8-86B8954E5255}" dt="2023-03-31T02:29:52.731" v="39520" actId="165"/>
          <ac:spMkLst>
            <pc:docMk/>
            <pc:sldMk cId="1169807257" sldId="752"/>
            <ac:spMk id="65" creationId="{3FE427A4-0426-48C5-96B3-C84165AC8A89}"/>
          </ac:spMkLst>
        </pc:spChg>
        <pc:spChg chg="mod">
          <ac:chgData name="Gasteiger, Cassidy M" userId="49e4247d-81de-4625-ae16-f189e0b7e529" providerId="ADAL" clId="{EFB976C6-EC52-4602-90C8-86B8954E5255}" dt="2023-03-31T02:29:52.731" v="39520" actId="165"/>
          <ac:spMkLst>
            <pc:docMk/>
            <pc:sldMk cId="1169807257" sldId="752"/>
            <ac:spMk id="66" creationId="{3EB7D8AE-0AF6-408F-BE4D-B9080BED5123}"/>
          </ac:spMkLst>
        </pc:spChg>
        <pc:spChg chg="mod">
          <ac:chgData name="Gasteiger, Cassidy M" userId="49e4247d-81de-4625-ae16-f189e0b7e529" providerId="ADAL" clId="{EFB976C6-EC52-4602-90C8-86B8954E5255}" dt="2023-03-31T02:29:52.731" v="39520" actId="165"/>
          <ac:spMkLst>
            <pc:docMk/>
            <pc:sldMk cId="1169807257" sldId="752"/>
            <ac:spMk id="67" creationId="{EC9ADC40-A8A2-40F9-9A8F-B6CC61638B19}"/>
          </ac:spMkLst>
        </pc:spChg>
        <pc:spChg chg="mod">
          <ac:chgData name="Gasteiger, Cassidy M" userId="49e4247d-81de-4625-ae16-f189e0b7e529" providerId="ADAL" clId="{EFB976C6-EC52-4602-90C8-86B8954E5255}" dt="2023-03-31T02:29:52.731" v="39520" actId="165"/>
          <ac:spMkLst>
            <pc:docMk/>
            <pc:sldMk cId="1169807257" sldId="752"/>
            <ac:spMk id="68" creationId="{9E565163-6CCA-4289-8A15-07389DB32579}"/>
          </ac:spMkLst>
        </pc:spChg>
        <pc:spChg chg="mod">
          <ac:chgData name="Gasteiger, Cassidy M" userId="49e4247d-81de-4625-ae16-f189e0b7e529" providerId="ADAL" clId="{EFB976C6-EC52-4602-90C8-86B8954E5255}" dt="2023-03-30T19:17:14.161" v="27645" actId="1076"/>
          <ac:spMkLst>
            <pc:docMk/>
            <pc:sldMk cId="1169807257" sldId="752"/>
            <ac:spMk id="71" creationId="{174293CE-2CF8-4846-A9E3-F79C7BB02611}"/>
          </ac:spMkLst>
        </pc:spChg>
        <pc:spChg chg="mod">
          <ac:chgData name="Gasteiger, Cassidy M" userId="49e4247d-81de-4625-ae16-f189e0b7e529" providerId="ADAL" clId="{EFB976C6-EC52-4602-90C8-86B8954E5255}" dt="2023-03-30T07:00:47.437" v="20226" actId="164"/>
          <ac:spMkLst>
            <pc:docMk/>
            <pc:sldMk cId="1169807257" sldId="752"/>
            <ac:spMk id="72" creationId="{59EC09CD-1321-4E78-BB2B-743224ACC103}"/>
          </ac:spMkLst>
        </pc:spChg>
        <pc:spChg chg="mod">
          <ac:chgData name="Gasteiger, Cassidy M" userId="49e4247d-81de-4625-ae16-f189e0b7e529" providerId="ADAL" clId="{EFB976C6-EC52-4602-90C8-86B8954E5255}" dt="2023-03-29T19:09:23.244" v="13114" actId="207"/>
          <ac:spMkLst>
            <pc:docMk/>
            <pc:sldMk cId="1169807257" sldId="752"/>
            <ac:spMk id="75" creationId="{6D5371B9-FAE1-4936-AFD8-6AF8900E4D0C}"/>
          </ac:spMkLst>
        </pc:spChg>
        <pc:spChg chg="mod">
          <ac:chgData name="Gasteiger, Cassidy M" userId="49e4247d-81de-4625-ae16-f189e0b7e529" providerId="ADAL" clId="{EFB976C6-EC52-4602-90C8-86B8954E5255}" dt="2023-03-30T19:18:42.502" v="27774" actId="20577"/>
          <ac:spMkLst>
            <pc:docMk/>
            <pc:sldMk cId="1169807257" sldId="752"/>
            <ac:spMk id="76" creationId="{EC9CD986-3A92-498D-8C81-062A9F1E26A3}"/>
          </ac:spMkLst>
        </pc:spChg>
        <pc:spChg chg="mod">
          <ac:chgData name="Gasteiger, Cassidy M" userId="49e4247d-81de-4625-ae16-f189e0b7e529" providerId="ADAL" clId="{EFB976C6-EC52-4602-90C8-86B8954E5255}" dt="2023-03-30T19:17:49.945" v="27684" actId="14100"/>
          <ac:spMkLst>
            <pc:docMk/>
            <pc:sldMk cId="1169807257" sldId="752"/>
            <ac:spMk id="77" creationId="{F9A867D8-6AEB-4F9B-9C85-DCAC046AB671}"/>
          </ac:spMkLst>
        </pc:spChg>
        <pc:spChg chg="mod topLvl">
          <ac:chgData name="Gasteiger, Cassidy M" userId="49e4247d-81de-4625-ae16-f189e0b7e529" providerId="ADAL" clId="{EFB976C6-EC52-4602-90C8-86B8954E5255}" dt="2023-03-30T19:17:33.555" v="27682" actId="20577"/>
          <ac:spMkLst>
            <pc:docMk/>
            <pc:sldMk cId="1169807257" sldId="752"/>
            <ac:spMk id="81" creationId="{022B74DA-185F-47C9-9209-C3A125FC9963}"/>
          </ac:spMkLst>
        </pc:spChg>
        <pc:spChg chg="mod topLvl">
          <ac:chgData name="Gasteiger, Cassidy M" userId="49e4247d-81de-4625-ae16-f189e0b7e529" providerId="ADAL" clId="{EFB976C6-EC52-4602-90C8-86B8954E5255}" dt="2023-03-30T19:17:14.161" v="27645" actId="1076"/>
          <ac:spMkLst>
            <pc:docMk/>
            <pc:sldMk cId="1169807257" sldId="752"/>
            <ac:spMk id="84" creationId="{0D5C3EB7-ECBD-4EDE-8E52-26C8C96EBA3C}"/>
          </ac:spMkLst>
        </pc:spChg>
        <pc:spChg chg="mod topLvl">
          <ac:chgData name="Gasteiger, Cassidy M" userId="49e4247d-81de-4625-ae16-f189e0b7e529" providerId="ADAL" clId="{EFB976C6-EC52-4602-90C8-86B8954E5255}" dt="2023-03-30T19:17:14.161" v="27645" actId="1076"/>
          <ac:spMkLst>
            <pc:docMk/>
            <pc:sldMk cId="1169807257" sldId="752"/>
            <ac:spMk id="85" creationId="{B2693CFF-6C22-4C92-B210-B55087FF9487}"/>
          </ac:spMkLst>
        </pc:spChg>
        <pc:spChg chg="mod topLvl">
          <ac:chgData name="Gasteiger, Cassidy M" userId="49e4247d-81de-4625-ae16-f189e0b7e529" providerId="ADAL" clId="{EFB976C6-EC52-4602-90C8-86B8954E5255}" dt="2023-03-31T02:29:58.238" v="39522" actId="14100"/>
          <ac:spMkLst>
            <pc:docMk/>
            <pc:sldMk cId="1169807257" sldId="752"/>
            <ac:spMk id="106" creationId="{728CD11D-C6CE-40F0-ABC2-92A29DD44D7B}"/>
          </ac:spMkLst>
        </pc:spChg>
        <pc:grpChg chg="del mod">
          <ac:chgData name="Gasteiger, Cassidy M" userId="49e4247d-81de-4625-ae16-f189e0b7e529" providerId="ADAL" clId="{EFB976C6-EC52-4602-90C8-86B8954E5255}" dt="2023-03-31T02:29:52.731" v="39520" actId="165"/>
          <ac:grpSpMkLst>
            <pc:docMk/>
            <pc:sldMk cId="1169807257" sldId="752"/>
            <ac:grpSpMk id="3" creationId="{D786BB74-D258-4FAB-8E5F-8613DF204887}"/>
          </ac:grpSpMkLst>
        </pc:grpChg>
        <pc:grpChg chg="add mod">
          <ac:chgData name="Gasteiger, Cassidy M" userId="49e4247d-81de-4625-ae16-f189e0b7e529" providerId="ADAL" clId="{EFB976C6-EC52-4602-90C8-86B8954E5255}" dt="2023-03-30T07:01:21.120" v="20241" actId="1037"/>
          <ac:grpSpMkLst>
            <pc:docMk/>
            <pc:sldMk cId="1169807257" sldId="752"/>
            <ac:grpSpMk id="8" creationId="{271E49BB-824B-7426-B2CF-BD658ED2B133}"/>
          </ac:grpSpMkLst>
        </pc:grpChg>
        <pc:grpChg chg="del">
          <ac:chgData name="Gasteiger, Cassidy M" userId="49e4247d-81de-4625-ae16-f189e0b7e529" providerId="ADAL" clId="{EFB976C6-EC52-4602-90C8-86B8954E5255}" dt="2023-03-29T16:00:41.506" v="10910" actId="478"/>
          <ac:grpSpMkLst>
            <pc:docMk/>
            <pc:sldMk cId="1169807257" sldId="752"/>
            <ac:grpSpMk id="14" creationId="{08FC6AE4-CB4B-4CAC-889C-1DADE47FDA6A}"/>
          </ac:grpSpMkLst>
        </pc:grpChg>
        <pc:grpChg chg="del">
          <ac:chgData name="Gasteiger, Cassidy M" userId="49e4247d-81de-4625-ae16-f189e0b7e529" providerId="ADAL" clId="{EFB976C6-EC52-4602-90C8-86B8954E5255}" dt="2023-03-29T16:00:41.506" v="10910" actId="478"/>
          <ac:grpSpMkLst>
            <pc:docMk/>
            <pc:sldMk cId="1169807257" sldId="752"/>
            <ac:grpSpMk id="16" creationId="{3FD8B79A-B743-43DA-B366-C86B1545DFAD}"/>
          </ac:grpSpMkLst>
        </pc:grpChg>
        <pc:grpChg chg="add del mod">
          <ac:chgData name="Gasteiger, Cassidy M" userId="49e4247d-81de-4625-ae16-f189e0b7e529" providerId="ADAL" clId="{EFB976C6-EC52-4602-90C8-86B8954E5255}" dt="2023-03-30T21:51:50.236" v="32169" actId="478"/>
          <ac:grpSpMkLst>
            <pc:docMk/>
            <pc:sldMk cId="1169807257" sldId="752"/>
            <ac:grpSpMk id="21" creationId="{A4E69378-C180-C413-7FEB-2AF039CAFCF1}"/>
          </ac:grpSpMkLst>
        </pc:grpChg>
        <pc:grpChg chg="add mod">
          <ac:chgData name="Gasteiger, Cassidy M" userId="49e4247d-81de-4625-ae16-f189e0b7e529" providerId="ADAL" clId="{EFB976C6-EC52-4602-90C8-86B8954E5255}" dt="2023-03-30T21:51:50.695" v="32170"/>
          <ac:grpSpMkLst>
            <pc:docMk/>
            <pc:sldMk cId="1169807257" sldId="752"/>
            <ac:grpSpMk id="29" creationId="{3CD5BBBB-C9DE-4CA2-508F-4F14C49708AD}"/>
          </ac:grpSpMkLst>
        </pc:grpChg>
        <pc:grpChg chg="add mod">
          <ac:chgData name="Gasteiger, Cassidy M" userId="49e4247d-81de-4625-ae16-f189e0b7e529" providerId="ADAL" clId="{EFB976C6-EC52-4602-90C8-86B8954E5255}" dt="2023-03-30T07:01:21.120" v="20241" actId="1037"/>
          <ac:grpSpMkLst>
            <pc:docMk/>
            <pc:sldMk cId="1169807257" sldId="752"/>
            <ac:grpSpMk id="32" creationId="{B02A90AA-C648-F7AD-BF7A-33679FD75B1A}"/>
          </ac:grpSpMkLst>
        </pc:grpChg>
        <pc:grpChg chg="add mod">
          <ac:chgData name="Gasteiger, Cassidy M" userId="49e4247d-81de-4625-ae16-f189e0b7e529" providerId="ADAL" clId="{EFB976C6-EC52-4602-90C8-86B8954E5255}" dt="2023-03-31T00:52:45.686" v="34427" actId="552"/>
          <ac:grpSpMkLst>
            <pc:docMk/>
            <pc:sldMk cId="1169807257" sldId="752"/>
            <ac:grpSpMk id="36" creationId="{8D315EE1-A447-8B70-E3B1-9C9912EE05C5}"/>
          </ac:grpSpMkLst>
        </pc:grpChg>
        <pc:grpChg chg="add mod">
          <ac:chgData name="Gasteiger, Cassidy M" userId="49e4247d-81de-4625-ae16-f189e0b7e529" providerId="ADAL" clId="{EFB976C6-EC52-4602-90C8-86B8954E5255}" dt="2023-03-31T00:52:45.686" v="34427" actId="552"/>
          <ac:grpSpMkLst>
            <pc:docMk/>
            <pc:sldMk cId="1169807257" sldId="752"/>
            <ac:grpSpMk id="37" creationId="{25792150-39EF-B945-A1EF-D270EA7535D4}"/>
          </ac:grpSpMkLst>
        </pc:grpChg>
        <pc:grpChg chg="add mod">
          <ac:chgData name="Gasteiger, Cassidy M" userId="49e4247d-81de-4625-ae16-f189e0b7e529" providerId="ADAL" clId="{EFB976C6-EC52-4602-90C8-86B8954E5255}" dt="2023-03-31T00:52:45.686" v="34427" actId="552"/>
          <ac:grpSpMkLst>
            <pc:docMk/>
            <pc:sldMk cId="1169807257" sldId="752"/>
            <ac:grpSpMk id="38" creationId="{8229BCEC-72F4-895E-FFE7-11289A4668DA}"/>
          </ac:grpSpMkLst>
        </pc:grpChg>
        <pc:grpChg chg="add mod">
          <ac:chgData name="Gasteiger, Cassidy M" userId="49e4247d-81de-4625-ae16-f189e0b7e529" providerId="ADAL" clId="{EFB976C6-EC52-4602-90C8-86B8954E5255}" dt="2023-03-31T00:52:45.686" v="34427" actId="552"/>
          <ac:grpSpMkLst>
            <pc:docMk/>
            <pc:sldMk cId="1169807257" sldId="752"/>
            <ac:grpSpMk id="39" creationId="{23B5282B-7B9E-962F-7B0D-69F24559BC89}"/>
          </ac:grpSpMkLst>
        </pc:grpChg>
        <pc:grpChg chg="mod topLvl">
          <ac:chgData name="Gasteiger, Cassidy M" userId="49e4247d-81de-4625-ae16-f189e0b7e529" providerId="ADAL" clId="{EFB976C6-EC52-4602-90C8-86B8954E5255}" dt="2023-03-31T02:30:00.771" v="39523" actId="1076"/>
          <ac:grpSpMkLst>
            <pc:docMk/>
            <pc:sldMk cId="1169807257" sldId="752"/>
            <ac:grpSpMk id="55" creationId="{6E294DC9-3D2D-43FC-88E0-A2C5EF8B0A14}"/>
          </ac:grpSpMkLst>
        </pc:grpChg>
        <pc:grpChg chg="mod">
          <ac:chgData name="Gasteiger, Cassidy M" userId="49e4247d-81de-4625-ae16-f189e0b7e529" providerId="ADAL" clId="{EFB976C6-EC52-4602-90C8-86B8954E5255}" dt="2023-03-31T02:29:52.731" v="39520" actId="165"/>
          <ac:grpSpMkLst>
            <pc:docMk/>
            <pc:sldMk cId="1169807257" sldId="752"/>
            <ac:grpSpMk id="56" creationId="{81A2A58B-665E-42A8-BCAF-AEAA04DF7762}"/>
          </ac:grpSpMkLst>
        </pc:grpChg>
        <pc:grpChg chg="mod">
          <ac:chgData name="Gasteiger, Cassidy M" userId="49e4247d-81de-4625-ae16-f189e0b7e529" providerId="ADAL" clId="{EFB976C6-EC52-4602-90C8-86B8954E5255}" dt="2023-03-31T02:29:52.731" v="39520" actId="165"/>
          <ac:grpSpMkLst>
            <pc:docMk/>
            <pc:sldMk cId="1169807257" sldId="752"/>
            <ac:grpSpMk id="57" creationId="{F9C103CA-A4E0-4A3D-AD44-F68A5A033056}"/>
          </ac:grpSpMkLst>
        </pc:grpChg>
        <pc:grpChg chg="mod topLvl">
          <ac:chgData name="Gasteiger, Cassidy M" userId="49e4247d-81de-4625-ae16-f189e0b7e529" providerId="ADAL" clId="{EFB976C6-EC52-4602-90C8-86B8954E5255}" dt="2023-03-31T02:30:03.199" v="39524" actId="1076"/>
          <ac:grpSpMkLst>
            <pc:docMk/>
            <pc:sldMk cId="1169807257" sldId="752"/>
            <ac:grpSpMk id="62" creationId="{B490BC8B-7117-4FF9-866A-696EDE7F834D}"/>
          </ac:grpSpMkLst>
        </pc:grpChg>
        <pc:grpChg chg="mod">
          <ac:chgData name="Gasteiger, Cassidy M" userId="49e4247d-81de-4625-ae16-f189e0b7e529" providerId="ADAL" clId="{EFB976C6-EC52-4602-90C8-86B8954E5255}" dt="2023-03-31T02:29:52.731" v="39520" actId="165"/>
          <ac:grpSpMkLst>
            <pc:docMk/>
            <pc:sldMk cId="1169807257" sldId="752"/>
            <ac:grpSpMk id="63" creationId="{6E37621E-AED1-4FAE-97A8-83E9301E91E7}"/>
          </ac:grpSpMkLst>
        </pc:grpChg>
        <pc:grpChg chg="mod">
          <ac:chgData name="Gasteiger, Cassidy M" userId="49e4247d-81de-4625-ae16-f189e0b7e529" providerId="ADAL" clId="{EFB976C6-EC52-4602-90C8-86B8954E5255}" dt="2023-03-31T02:29:52.731" v="39520" actId="165"/>
          <ac:grpSpMkLst>
            <pc:docMk/>
            <pc:sldMk cId="1169807257" sldId="752"/>
            <ac:grpSpMk id="64" creationId="{B0113D10-2DC8-4A82-A3B4-82B6E4575A9E}"/>
          </ac:grpSpMkLst>
        </pc:grpChg>
        <pc:grpChg chg="mod">
          <ac:chgData name="Gasteiger, Cassidy M" userId="49e4247d-81de-4625-ae16-f189e0b7e529" providerId="ADAL" clId="{EFB976C6-EC52-4602-90C8-86B8954E5255}" dt="2023-03-30T07:01:29.161" v="20251" actId="1038"/>
          <ac:grpSpMkLst>
            <pc:docMk/>
            <pc:sldMk cId="1169807257" sldId="752"/>
            <ac:grpSpMk id="73" creationId="{81F5629F-D48B-4252-8B69-95EFAD2842AE}"/>
          </ac:grpSpMkLst>
        </pc:grpChg>
        <pc:grpChg chg="del mod">
          <ac:chgData name="Gasteiger, Cassidy M" userId="49e4247d-81de-4625-ae16-f189e0b7e529" providerId="ADAL" clId="{EFB976C6-EC52-4602-90C8-86B8954E5255}" dt="2023-03-30T04:25:51.501" v="17000" actId="165"/>
          <ac:grpSpMkLst>
            <pc:docMk/>
            <pc:sldMk cId="1169807257" sldId="752"/>
            <ac:grpSpMk id="79" creationId="{CD04428C-72DD-457A-AD3C-FD4C5B7ABD68}"/>
          </ac:grpSpMkLst>
        </pc:grpChg>
        <pc:grpChg chg="del">
          <ac:chgData name="Gasteiger, Cassidy M" userId="49e4247d-81de-4625-ae16-f189e0b7e529" providerId="ADAL" clId="{EFB976C6-EC52-4602-90C8-86B8954E5255}" dt="2023-03-29T15:59:54.731" v="10902" actId="478"/>
          <ac:grpSpMkLst>
            <pc:docMk/>
            <pc:sldMk cId="1169807257" sldId="752"/>
            <ac:grpSpMk id="100" creationId="{4CD81B90-9DB3-4A42-8CE3-8BD63C534AE7}"/>
          </ac:grpSpMkLst>
        </pc:grpChg>
        <pc:grpChg chg="del">
          <ac:chgData name="Gasteiger, Cassidy M" userId="49e4247d-81de-4625-ae16-f189e0b7e529" providerId="ADAL" clId="{EFB976C6-EC52-4602-90C8-86B8954E5255}" dt="2023-03-29T16:00:46.616" v="10911" actId="478"/>
          <ac:grpSpMkLst>
            <pc:docMk/>
            <pc:sldMk cId="1169807257" sldId="752"/>
            <ac:grpSpMk id="108" creationId="{2230ADE8-7FBD-45F0-A6E8-6C399FDBBC28}"/>
          </ac:grpSpMkLst>
        </pc:grpChg>
        <pc:graphicFrameChg chg="mod">
          <ac:chgData name="Gasteiger, Cassidy M" userId="49e4247d-81de-4625-ae16-f189e0b7e529" providerId="ADAL" clId="{EFB976C6-EC52-4602-90C8-86B8954E5255}" dt="2023-03-29T16:10:22.179" v="11033" actId="207"/>
          <ac:graphicFrameMkLst>
            <pc:docMk/>
            <pc:sldMk cId="1169807257" sldId="752"/>
            <ac:graphicFrameMk id="9" creationId="{5F7FF21B-43E7-9517-30CA-5E8D57E00EF3}"/>
          </ac:graphicFrameMkLst>
        </pc:graphicFrameChg>
        <pc:graphicFrameChg chg="add mod">
          <ac:chgData name="Gasteiger, Cassidy M" userId="49e4247d-81de-4625-ae16-f189e0b7e529" providerId="ADAL" clId="{EFB976C6-EC52-4602-90C8-86B8954E5255}" dt="2023-03-30T07:01:21.120" v="20241" actId="1037"/>
          <ac:graphicFrameMkLst>
            <pc:docMk/>
            <pc:sldMk cId="1169807257" sldId="752"/>
            <ac:graphicFrameMk id="12" creationId="{5FD1E7DE-1325-C761-497C-15D504247D00}"/>
          </ac:graphicFrameMkLst>
        </pc:graphicFrameChg>
        <pc:graphicFrameChg chg="add mod">
          <ac:chgData name="Gasteiger, Cassidy M" userId="49e4247d-81de-4625-ae16-f189e0b7e529" providerId="ADAL" clId="{EFB976C6-EC52-4602-90C8-86B8954E5255}" dt="2023-03-30T07:07:36.731" v="20619" actId="2085"/>
          <ac:graphicFrameMkLst>
            <pc:docMk/>
            <pc:sldMk cId="1169807257" sldId="752"/>
            <ac:graphicFrameMk id="13" creationId="{9C8A484B-75F8-A8A7-ED2A-FE32EFE46B65}"/>
          </ac:graphicFrameMkLst>
        </pc:graphicFrameChg>
        <pc:graphicFrameChg chg="add mod">
          <ac:chgData name="Gasteiger, Cassidy M" userId="49e4247d-81de-4625-ae16-f189e0b7e529" providerId="ADAL" clId="{EFB976C6-EC52-4602-90C8-86B8954E5255}" dt="2023-03-30T07:01:21.120" v="20241" actId="1037"/>
          <ac:graphicFrameMkLst>
            <pc:docMk/>
            <pc:sldMk cId="1169807257" sldId="752"/>
            <ac:graphicFrameMk id="17" creationId="{640AA33B-19AD-7D4E-8322-ACAE5A38B875}"/>
          </ac:graphicFrameMkLst>
        </pc:graphicFrameChg>
        <pc:graphicFrameChg chg="add mod">
          <ac:chgData name="Gasteiger, Cassidy M" userId="49e4247d-81de-4625-ae16-f189e0b7e529" providerId="ADAL" clId="{EFB976C6-EC52-4602-90C8-86B8954E5255}" dt="2023-03-30T07:07:58.328" v="20622"/>
          <ac:graphicFrameMkLst>
            <pc:docMk/>
            <pc:sldMk cId="1169807257" sldId="752"/>
            <ac:graphicFrameMk id="18" creationId="{91EF8066-D8FA-9859-7703-A47166A52DBE}"/>
          </ac:graphicFrameMkLst>
        </pc:graphicFrameChg>
        <pc:graphicFrameChg chg="add del mod">
          <ac:chgData name="Gasteiger, Cassidy M" userId="49e4247d-81de-4625-ae16-f189e0b7e529" providerId="ADAL" clId="{EFB976C6-EC52-4602-90C8-86B8954E5255}" dt="2023-03-30T00:06:53.447" v="13786" actId="21"/>
          <ac:graphicFrameMkLst>
            <pc:docMk/>
            <pc:sldMk cId="1169807257" sldId="752"/>
            <ac:graphicFrameMk id="28" creationId="{D9894415-021F-4CAC-3C40-0850731BA781}"/>
          </ac:graphicFrameMkLst>
        </pc:graphicFrameChg>
        <pc:graphicFrameChg chg="add mod">
          <ac:chgData name="Gasteiger, Cassidy M" userId="49e4247d-81de-4625-ae16-f189e0b7e529" providerId="ADAL" clId="{EFB976C6-EC52-4602-90C8-86B8954E5255}" dt="2023-03-30T00:00:43.513" v="13757" actId="571"/>
          <ac:graphicFrameMkLst>
            <pc:docMk/>
            <pc:sldMk cId="1169807257" sldId="752"/>
            <ac:graphicFrameMk id="29" creationId="{55B14A83-D2E1-0DB3-D75C-1D803F07471D}"/>
          </ac:graphicFrameMkLst>
        </pc:graphicFrameChg>
        <pc:picChg chg="add del mod">
          <ac:chgData name="Gasteiger, Cassidy M" userId="49e4247d-81de-4625-ae16-f189e0b7e529" providerId="ADAL" clId="{EFB976C6-EC52-4602-90C8-86B8954E5255}" dt="2023-03-30T22:22:55.625" v="32782" actId="478"/>
          <ac:picMkLst>
            <pc:docMk/>
            <pc:sldMk cId="1169807257" sldId="752"/>
            <ac:picMk id="7" creationId="{BBC69057-35FC-DAFC-4C6E-1DA969DC317D}"/>
          </ac:picMkLst>
        </pc:picChg>
        <pc:picChg chg="add del mod">
          <ac:chgData name="Gasteiger, Cassidy M" userId="49e4247d-81de-4625-ae16-f189e0b7e529" providerId="ADAL" clId="{EFB976C6-EC52-4602-90C8-86B8954E5255}" dt="2023-03-30T22:21:05.165" v="32781" actId="478"/>
          <ac:picMkLst>
            <pc:docMk/>
            <pc:sldMk cId="1169807257" sldId="752"/>
            <ac:picMk id="21" creationId="{179E7D2B-9CE6-3CB1-E197-88C9B5B76E14}"/>
          </ac:picMkLst>
        </pc:picChg>
        <pc:picChg chg="add mod">
          <ac:chgData name="Gasteiger, Cassidy M" userId="49e4247d-81de-4625-ae16-f189e0b7e529" providerId="ADAL" clId="{EFB976C6-EC52-4602-90C8-86B8954E5255}" dt="2023-03-30T22:23:11.644" v="32789" actId="1076"/>
          <ac:picMkLst>
            <pc:docMk/>
            <pc:sldMk cId="1169807257" sldId="752"/>
            <ac:picMk id="28" creationId="{DCD9C922-0167-B6CF-8A36-BAC8E60C0920}"/>
          </ac:picMkLst>
        </pc:picChg>
        <pc:cxnChg chg="mod">
          <ac:chgData name="Gasteiger, Cassidy M" userId="49e4247d-81de-4625-ae16-f189e0b7e529" providerId="ADAL" clId="{EFB976C6-EC52-4602-90C8-86B8954E5255}" dt="2023-03-30T04:25:28.552" v="16996" actId="14100"/>
          <ac:cxnSpMkLst>
            <pc:docMk/>
            <pc:sldMk cId="1169807257" sldId="752"/>
            <ac:cxnSpMk id="74" creationId="{5997E9FD-951A-4516-96A1-46111EAEBE5F}"/>
          </ac:cxnSpMkLst>
        </pc:cxnChg>
      </pc:sldChg>
      <pc:sldChg chg="addSp modSp del mod">
        <pc:chgData name="Gasteiger, Cassidy M" userId="49e4247d-81de-4625-ae16-f189e0b7e529" providerId="ADAL" clId="{EFB976C6-EC52-4602-90C8-86B8954E5255}" dt="2023-03-31T03:33:57.767" v="41570" actId="2696"/>
        <pc:sldMkLst>
          <pc:docMk/>
          <pc:sldMk cId="2136304429" sldId="2032092754"/>
        </pc:sldMkLst>
        <pc:spChg chg="add mod">
          <ac:chgData name="Gasteiger, Cassidy M" userId="49e4247d-81de-4625-ae16-f189e0b7e529" providerId="ADAL" clId="{EFB976C6-EC52-4602-90C8-86B8954E5255}" dt="2023-03-30T22:27:45.702" v="32997" actId="20577"/>
          <ac:spMkLst>
            <pc:docMk/>
            <pc:sldMk cId="2136304429" sldId="2032092754"/>
            <ac:spMk id="3" creationId="{8481DDBE-E704-ECBA-E073-E398942A3CE7}"/>
          </ac:spMkLst>
        </pc:spChg>
      </pc:sldChg>
      <pc:sldChg chg="del">
        <pc:chgData name="Gasteiger, Cassidy M" userId="49e4247d-81de-4625-ae16-f189e0b7e529" providerId="ADAL" clId="{EFB976C6-EC52-4602-90C8-86B8954E5255}" dt="2023-03-31T03:33:57.767" v="41570" actId="2696"/>
        <pc:sldMkLst>
          <pc:docMk/>
          <pc:sldMk cId="114930875" sldId="2032092842"/>
        </pc:sldMkLst>
      </pc:sldChg>
      <pc:sldChg chg="del">
        <pc:chgData name="Gasteiger, Cassidy M" userId="49e4247d-81de-4625-ae16-f189e0b7e529" providerId="ADAL" clId="{EFB976C6-EC52-4602-90C8-86B8954E5255}" dt="2023-03-31T03:33:57.767" v="41570" actId="2696"/>
        <pc:sldMkLst>
          <pc:docMk/>
          <pc:sldMk cId="2814362586" sldId="2032093284"/>
        </pc:sldMkLst>
      </pc:sldChg>
      <pc:sldChg chg="addSp delSp modSp del mod ord modNotes">
        <pc:chgData name="Gasteiger, Cassidy M" userId="49e4247d-81de-4625-ae16-f189e0b7e529" providerId="ADAL" clId="{EFB976C6-EC52-4602-90C8-86B8954E5255}" dt="2023-03-31T00:29:41.771" v="33804" actId="2696"/>
        <pc:sldMkLst>
          <pc:docMk/>
          <pc:sldMk cId="3658832495" sldId="2141411846"/>
        </pc:sldMkLst>
        <pc:spChg chg="add mod">
          <ac:chgData name="Gasteiger, Cassidy M" userId="49e4247d-81de-4625-ae16-f189e0b7e529" providerId="ADAL" clId="{EFB976C6-EC52-4602-90C8-86B8954E5255}" dt="2023-03-30T21:36:12.224" v="31628" actId="1076"/>
          <ac:spMkLst>
            <pc:docMk/>
            <pc:sldMk cId="3658832495" sldId="2141411846"/>
            <ac:spMk id="2" creationId="{00968631-1635-6456-04C6-1CABDC54A6E2}"/>
          </ac:spMkLst>
        </pc:spChg>
        <pc:spChg chg="del">
          <ac:chgData name="Gasteiger, Cassidy M" userId="49e4247d-81de-4625-ae16-f189e0b7e529" providerId="ADAL" clId="{EFB976C6-EC52-4602-90C8-86B8954E5255}" dt="2023-03-28T20:42:51.693" v="7599" actId="478"/>
          <ac:spMkLst>
            <pc:docMk/>
            <pc:sldMk cId="3658832495" sldId="2141411846"/>
            <ac:spMk id="2" creationId="{2CA4C2C3-2C57-4213-A652-88FE1F547216}"/>
          </ac:spMkLst>
        </pc:spChg>
        <pc:spChg chg="add mod">
          <ac:chgData name="Gasteiger, Cassidy M" userId="49e4247d-81de-4625-ae16-f189e0b7e529" providerId="ADAL" clId="{EFB976C6-EC52-4602-90C8-86B8954E5255}" dt="2023-03-30T22:08:25.527" v="32384" actId="1076"/>
          <ac:spMkLst>
            <pc:docMk/>
            <pc:sldMk cId="3658832495" sldId="2141411846"/>
            <ac:spMk id="3" creationId="{302DF093-49E3-6376-71B7-65DD6CD04C2B}"/>
          </ac:spMkLst>
        </pc:spChg>
        <pc:spChg chg="add del mod">
          <ac:chgData name="Gasteiger, Cassidy M" userId="49e4247d-81de-4625-ae16-f189e0b7e529" providerId="ADAL" clId="{EFB976C6-EC52-4602-90C8-86B8954E5255}" dt="2023-03-30T21:50:59.561" v="32150" actId="478"/>
          <ac:spMkLst>
            <pc:docMk/>
            <pc:sldMk cId="3658832495" sldId="2141411846"/>
            <ac:spMk id="3" creationId="{D685CD4E-7253-8D13-3266-8457EE55AD1B}"/>
          </ac:spMkLst>
        </pc:spChg>
        <pc:spChg chg="add mod">
          <ac:chgData name="Gasteiger, Cassidy M" userId="49e4247d-81de-4625-ae16-f189e0b7e529" providerId="ADAL" clId="{EFB976C6-EC52-4602-90C8-86B8954E5255}" dt="2023-03-30T22:19:49.676" v="32723" actId="207"/>
          <ac:spMkLst>
            <pc:docMk/>
            <pc:sldMk cId="3658832495" sldId="2141411846"/>
            <ac:spMk id="5" creationId="{055A6411-FCE3-7CD8-26D6-BEC4C2CB32A1}"/>
          </ac:spMkLst>
        </pc:spChg>
        <pc:spChg chg="add del mod">
          <ac:chgData name="Gasteiger, Cassidy M" userId="49e4247d-81de-4625-ae16-f189e0b7e529" providerId="ADAL" clId="{EFB976C6-EC52-4602-90C8-86B8954E5255}" dt="2023-03-30T21:50:58.627" v="32149" actId="478"/>
          <ac:spMkLst>
            <pc:docMk/>
            <pc:sldMk cId="3658832495" sldId="2141411846"/>
            <ac:spMk id="5" creationId="{71AF122E-4462-40BE-B398-F69CA00B218F}"/>
          </ac:spMkLst>
        </pc:spChg>
        <pc:spChg chg="add mod">
          <ac:chgData name="Gasteiger, Cassidy M" userId="49e4247d-81de-4625-ae16-f189e0b7e529" providerId="ADAL" clId="{EFB976C6-EC52-4602-90C8-86B8954E5255}" dt="2023-03-31T00:16:18.896" v="33153" actId="20577"/>
          <ac:spMkLst>
            <pc:docMk/>
            <pc:sldMk cId="3658832495" sldId="2141411846"/>
            <ac:spMk id="6" creationId="{027D0A23-A92B-E3C3-1C53-2395415479BB}"/>
          </ac:spMkLst>
        </pc:spChg>
        <pc:spChg chg="mod">
          <ac:chgData name="Gasteiger, Cassidy M" userId="49e4247d-81de-4625-ae16-f189e0b7e529" providerId="ADAL" clId="{EFB976C6-EC52-4602-90C8-86B8954E5255}" dt="2023-03-30T21:51:13.486" v="32153"/>
          <ac:spMkLst>
            <pc:docMk/>
            <pc:sldMk cId="3658832495" sldId="2141411846"/>
            <ac:spMk id="7" creationId="{67E361E8-AA6A-3730-8D76-DE60D3E4EB7D}"/>
          </ac:spMkLst>
        </pc:spChg>
        <pc:spChg chg="add del mod">
          <ac:chgData name="Gasteiger, Cassidy M" userId="49e4247d-81de-4625-ae16-f189e0b7e529" providerId="ADAL" clId="{EFB976C6-EC52-4602-90C8-86B8954E5255}" dt="2023-03-28T20:43:02.721" v="7601" actId="478"/>
          <ac:spMkLst>
            <pc:docMk/>
            <pc:sldMk cId="3658832495" sldId="2141411846"/>
            <ac:spMk id="7" creationId="{AF270BB0-AE4E-7CD5-0DF4-1C0762335B26}"/>
          </ac:spMkLst>
        </pc:spChg>
        <pc:spChg chg="add mod">
          <ac:chgData name="Gasteiger, Cassidy M" userId="49e4247d-81de-4625-ae16-f189e0b7e529" providerId="ADAL" clId="{EFB976C6-EC52-4602-90C8-86B8954E5255}" dt="2023-03-31T00:16:13.320" v="33149" actId="122"/>
          <ac:spMkLst>
            <pc:docMk/>
            <pc:sldMk cId="3658832495" sldId="2141411846"/>
            <ac:spMk id="7" creationId="{C0943541-7559-BD02-4F0C-A2EFA79ABC21}"/>
          </ac:spMkLst>
        </pc:spChg>
        <pc:spChg chg="add mod">
          <ac:chgData name="Gasteiger, Cassidy M" userId="49e4247d-81de-4625-ae16-f189e0b7e529" providerId="ADAL" clId="{EFB976C6-EC52-4602-90C8-86B8954E5255}" dt="2023-03-28T20:43:58.310" v="7704" actId="20577"/>
          <ac:spMkLst>
            <pc:docMk/>
            <pc:sldMk cId="3658832495" sldId="2141411846"/>
            <ac:spMk id="8" creationId="{2423C809-83F6-B6E3-EEA1-3B964A3937D8}"/>
          </ac:spMkLst>
        </pc:spChg>
        <pc:spChg chg="mod">
          <ac:chgData name="Gasteiger, Cassidy M" userId="49e4247d-81de-4625-ae16-f189e0b7e529" providerId="ADAL" clId="{EFB976C6-EC52-4602-90C8-86B8954E5255}" dt="2023-03-30T21:51:13.486" v="32153"/>
          <ac:spMkLst>
            <pc:docMk/>
            <pc:sldMk cId="3658832495" sldId="2141411846"/>
            <ac:spMk id="9" creationId="{66B40BF5-C1E3-3C75-EA20-7573FD899210}"/>
          </ac:spMkLst>
        </pc:spChg>
        <pc:spChg chg="add mod">
          <ac:chgData name="Gasteiger, Cassidy M" userId="49e4247d-81de-4625-ae16-f189e0b7e529" providerId="ADAL" clId="{EFB976C6-EC52-4602-90C8-86B8954E5255}" dt="2023-03-31T00:24:06.092" v="33514" actId="1076"/>
          <ac:spMkLst>
            <pc:docMk/>
            <pc:sldMk cId="3658832495" sldId="2141411846"/>
            <ac:spMk id="9" creationId="{EBC0E95E-0A34-7E94-5E51-E93F89EE6CD4}"/>
          </ac:spMkLst>
        </pc:spChg>
        <pc:spChg chg="mod">
          <ac:chgData name="Gasteiger, Cassidy M" userId="49e4247d-81de-4625-ae16-f189e0b7e529" providerId="ADAL" clId="{EFB976C6-EC52-4602-90C8-86B8954E5255}" dt="2023-03-30T21:51:47.495" v="32168"/>
          <ac:spMkLst>
            <pc:docMk/>
            <pc:sldMk cId="3658832495" sldId="2141411846"/>
            <ac:spMk id="11" creationId="{B1AFD968-FAF9-1D96-9E89-EB183B1243DA}"/>
          </ac:spMkLst>
        </pc:spChg>
        <pc:spChg chg="mod">
          <ac:chgData name="Gasteiger, Cassidy M" userId="49e4247d-81de-4625-ae16-f189e0b7e529" providerId="ADAL" clId="{EFB976C6-EC52-4602-90C8-86B8954E5255}" dt="2023-03-30T21:51:47.495" v="32168"/>
          <ac:spMkLst>
            <pc:docMk/>
            <pc:sldMk cId="3658832495" sldId="2141411846"/>
            <ac:spMk id="12" creationId="{1D4179B7-1192-F58E-14F0-90ACE4C0FB87}"/>
          </ac:spMkLst>
        </pc:spChg>
        <pc:spChg chg="add del mod ord">
          <ac:chgData name="Gasteiger, Cassidy M" userId="49e4247d-81de-4625-ae16-f189e0b7e529" providerId="ADAL" clId="{EFB976C6-EC52-4602-90C8-86B8954E5255}" dt="2023-03-30T00:41:01.832" v="14541" actId="478"/>
          <ac:spMkLst>
            <pc:docMk/>
            <pc:sldMk cId="3658832495" sldId="2141411846"/>
            <ac:spMk id="12" creationId="{D53D11FE-30A5-DBA3-F2FB-9D12EEE9F237}"/>
          </ac:spMkLst>
        </pc:spChg>
        <pc:spChg chg="add del mod">
          <ac:chgData name="Gasteiger, Cassidy M" userId="49e4247d-81de-4625-ae16-f189e0b7e529" providerId="ADAL" clId="{EFB976C6-EC52-4602-90C8-86B8954E5255}" dt="2023-03-30T00:41:03.651" v="14542" actId="478"/>
          <ac:spMkLst>
            <pc:docMk/>
            <pc:sldMk cId="3658832495" sldId="2141411846"/>
            <ac:spMk id="13" creationId="{27BF2655-81E7-08B5-F350-95C691EEE96D}"/>
          </ac:spMkLst>
        </pc:spChg>
        <pc:spChg chg="mod">
          <ac:chgData name="Gasteiger, Cassidy M" userId="49e4247d-81de-4625-ae16-f189e0b7e529" providerId="ADAL" clId="{EFB976C6-EC52-4602-90C8-86B8954E5255}" dt="2023-03-31T00:20:04.478" v="33446" actId="207"/>
          <ac:spMkLst>
            <pc:docMk/>
            <pc:sldMk cId="3658832495" sldId="2141411846"/>
            <ac:spMk id="14" creationId="{D9B6154A-714C-8DC7-A322-E426FB217329}"/>
          </ac:spMkLst>
        </pc:spChg>
        <pc:spChg chg="add del mod">
          <ac:chgData name="Gasteiger, Cassidy M" userId="49e4247d-81de-4625-ae16-f189e0b7e529" providerId="ADAL" clId="{EFB976C6-EC52-4602-90C8-86B8954E5255}" dt="2023-03-30T00:40:58.064" v="14538" actId="478"/>
          <ac:spMkLst>
            <pc:docMk/>
            <pc:sldMk cId="3658832495" sldId="2141411846"/>
            <ac:spMk id="15" creationId="{214173C3-F95C-B463-FBBA-F037636E47AD}"/>
          </ac:spMkLst>
        </pc:spChg>
        <pc:spChg chg="mod">
          <ac:chgData name="Gasteiger, Cassidy M" userId="49e4247d-81de-4625-ae16-f189e0b7e529" providerId="ADAL" clId="{EFB976C6-EC52-4602-90C8-86B8954E5255}" dt="2023-03-30T22:16:59.404" v="32648" actId="14100"/>
          <ac:spMkLst>
            <pc:docMk/>
            <pc:sldMk cId="3658832495" sldId="2141411846"/>
            <ac:spMk id="16" creationId="{239DFD2D-C0FF-BB81-4141-55F1B27DC517}"/>
          </ac:spMkLst>
        </pc:spChg>
        <pc:spChg chg="add del mod">
          <ac:chgData name="Gasteiger, Cassidy M" userId="49e4247d-81de-4625-ae16-f189e0b7e529" providerId="ADAL" clId="{EFB976C6-EC52-4602-90C8-86B8954E5255}" dt="2023-03-30T00:40:59.760" v="14539" actId="478"/>
          <ac:spMkLst>
            <pc:docMk/>
            <pc:sldMk cId="3658832495" sldId="2141411846"/>
            <ac:spMk id="17" creationId="{50DE227B-19B1-3839-2E8C-EFE7FA0F170A}"/>
          </ac:spMkLst>
        </pc:spChg>
        <pc:spChg chg="add mod">
          <ac:chgData name="Gasteiger, Cassidy M" userId="49e4247d-81de-4625-ae16-f189e0b7e529" providerId="ADAL" clId="{EFB976C6-EC52-4602-90C8-86B8954E5255}" dt="2023-03-30T21:46:27.994" v="32055" actId="20577"/>
          <ac:spMkLst>
            <pc:docMk/>
            <pc:sldMk cId="3658832495" sldId="2141411846"/>
            <ac:spMk id="18" creationId="{F8C12B2F-41CC-CC95-0994-93E7696E6D48}"/>
          </ac:spMkLst>
        </pc:spChg>
        <pc:spChg chg="add mod">
          <ac:chgData name="Gasteiger, Cassidy M" userId="49e4247d-81de-4625-ae16-f189e0b7e529" providerId="ADAL" clId="{EFB976C6-EC52-4602-90C8-86B8954E5255}" dt="2023-03-30T00:44:30.050" v="14623" actId="164"/>
          <ac:spMkLst>
            <pc:docMk/>
            <pc:sldMk cId="3658832495" sldId="2141411846"/>
            <ac:spMk id="20" creationId="{761388A1-C1B9-3E44-D751-2D78BA397D4A}"/>
          </ac:spMkLst>
        </pc:spChg>
        <pc:spChg chg="add mod">
          <ac:chgData name="Gasteiger, Cassidy M" userId="49e4247d-81de-4625-ae16-f189e0b7e529" providerId="ADAL" clId="{EFB976C6-EC52-4602-90C8-86B8954E5255}" dt="2023-03-30T21:46:14.249" v="32051" actId="20577"/>
          <ac:spMkLst>
            <pc:docMk/>
            <pc:sldMk cId="3658832495" sldId="2141411846"/>
            <ac:spMk id="21" creationId="{9298A675-56F8-D9CE-3157-040BAF411329}"/>
          </ac:spMkLst>
        </pc:spChg>
        <pc:spChg chg="add mod">
          <ac:chgData name="Gasteiger, Cassidy M" userId="49e4247d-81de-4625-ae16-f189e0b7e529" providerId="ADAL" clId="{EFB976C6-EC52-4602-90C8-86B8954E5255}" dt="2023-03-30T00:44:47.933" v="14624" actId="164"/>
          <ac:spMkLst>
            <pc:docMk/>
            <pc:sldMk cId="3658832495" sldId="2141411846"/>
            <ac:spMk id="23" creationId="{CAB8E5F1-44E5-0578-1009-C369E5457E10}"/>
          </ac:spMkLst>
        </pc:spChg>
        <pc:spChg chg="add mod">
          <ac:chgData name="Gasteiger, Cassidy M" userId="49e4247d-81de-4625-ae16-f189e0b7e529" providerId="ADAL" clId="{EFB976C6-EC52-4602-90C8-86B8954E5255}" dt="2023-03-31T00:19:49.226" v="33444" actId="207"/>
          <ac:spMkLst>
            <pc:docMk/>
            <pc:sldMk cId="3658832495" sldId="2141411846"/>
            <ac:spMk id="24" creationId="{473AE47D-ECF5-3F71-7B91-DE562C36474F}"/>
          </ac:spMkLst>
        </pc:spChg>
        <pc:spChg chg="add mod">
          <ac:chgData name="Gasteiger, Cassidy M" userId="49e4247d-81de-4625-ae16-f189e0b7e529" providerId="ADAL" clId="{EFB976C6-EC52-4602-90C8-86B8954E5255}" dt="2023-03-30T00:44:57.208" v="14625" actId="164"/>
          <ac:spMkLst>
            <pc:docMk/>
            <pc:sldMk cId="3658832495" sldId="2141411846"/>
            <ac:spMk id="26" creationId="{6C347505-0002-00A6-A8F7-69DB8981FCA9}"/>
          </ac:spMkLst>
        </pc:spChg>
        <pc:spChg chg="mod">
          <ac:chgData name="Gasteiger, Cassidy M" userId="49e4247d-81de-4625-ae16-f189e0b7e529" providerId="ADAL" clId="{EFB976C6-EC52-4602-90C8-86B8954E5255}" dt="2023-03-30T22:18:04.514" v="32657" actId="20577"/>
          <ac:spMkLst>
            <pc:docMk/>
            <pc:sldMk cId="3658832495" sldId="2141411846"/>
            <ac:spMk id="32" creationId="{FADF7977-9A1C-CBF1-51A5-40848921523C}"/>
          </ac:spMkLst>
        </pc:spChg>
        <pc:spChg chg="mod">
          <ac:chgData name="Gasteiger, Cassidy M" userId="49e4247d-81de-4625-ae16-f189e0b7e529" providerId="ADAL" clId="{EFB976C6-EC52-4602-90C8-86B8954E5255}" dt="2023-03-30T22:18:41.428" v="32710" actId="14100"/>
          <ac:spMkLst>
            <pc:docMk/>
            <pc:sldMk cId="3658832495" sldId="2141411846"/>
            <ac:spMk id="34" creationId="{0C143576-F889-C364-61B1-B5C44F247019}"/>
          </ac:spMkLst>
        </pc:spChg>
        <pc:spChg chg="mod">
          <ac:chgData name="Gasteiger, Cassidy M" userId="49e4247d-81de-4625-ae16-f189e0b7e529" providerId="ADAL" clId="{EFB976C6-EC52-4602-90C8-86B8954E5255}" dt="2023-03-30T22:18:24.185" v="32694" actId="20577"/>
          <ac:spMkLst>
            <pc:docMk/>
            <pc:sldMk cId="3658832495" sldId="2141411846"/>
            <ac:spMk id="36" creationId="{17238F11-FDFB-7DF4-FCA5-3482B0C86880}"/>
          </ac:spMkLst>
        </pc:spChg>
        <pc:spChg chg="del">
          <ac:chgData name="Gasteiger, Cassidy M" userId="49e4247d-81de-4625-ae16-f189e0b7e529" providerId="ADAL" clId="{EFB976C6-EC52-4602-90C8-86B8954E5255}" dt="2023-03-28T20:41:24.182" v="7583" actId="478"/>
          <ac:spMkLst>
            <pc:docMk/>
            <pc:sldMk cId="3658832495" sldId="2141411846"/>
            <ac:spMk id="37" creationId="{74BF088F-2D29-42F8-9B5B-BD1FE3CC19C9}"/>
          </ac:spMkLst>
        </pc:spChg>
        <pc:spChg chg="mod">
          <ac:chgData name="Gasteiger, Cassidy M" userId="49e4247d-81de-4625-ae16-f189e0b7e529" providerId="ADAL" clId="{EFB976C6-EC52-4602-90C8-86B8954E5255}" dt="2023-03-30T22:18:36.811" v="32709" actId="14100"/>
          <ac:spMkLst>
            <pc:docMk/>
            <pc:sldMk cId="3658832495" sldId="2141411846"/>
            <ac:spMk id="38" creationId="{8DFA7CBD-BE5F-3C5C-B133-072BDA6B5286}"/>
          </ac:spMkLst>
        </pc:spChg>
        <pc:spChg chg="add del mod">
          <ac:chgData name="Gasteiger, Cassidy M" userId="49e4247d-81de-4625-ae16-f189e0b7e529" providerId="ADAL" clId="{EFB976C6-EC52-4602-90C8-86B8954E5255}" dt="2023-03-30T22:19:38.847" v="32720"/>
          <ac:spMkLst>
            <pc:docMk/>
            <pc:sldMk cId="3658832495" sldId="2141411846"/>
            <ac:spMk id="39" creationId="{A3921EA7-B2D6-83B3-4846-3BD083BFD755}"/>
          </ac:spMkLst>
        </pc:spChg>
        <pc:spChg chg="add mod">
          <ac:chgData name="Gasteiger, Cassidy M" userId="49e4247d-81de-4625-ae16-f189e0b7e529" providerId="ADAL" clId="{EFB976C6-EC52-4602-90C8-86B8954E5255}" dt="2023-03-30T22:25:07.986" v="32829" actId="122"/>
          <ac:spMkLst>
            <pc:docMk/>
            <pc:sldMk cId="3658832495" sldId="2141411846"/>
            <ac:spMk id="40" creationId="{39030B13-5B62-1FBA-D4CE-21539040F809}"/>
          </ac:spMkLst>
        </pc:spChg>
        <pc:spChg chg="add mod">
          <ac:chgData name="Gasteiger, Cassidy M" userId="49e4247d-81de-4625-ae16-f189e0b7e529" providerId="ADAL" clId="{EFB976C6-EC52-4602-90C8-86B8954E5255}" dt="2023-03-31T00:24:08.876" v="33515" actId="122"/>
          <ac:spMkLst>
            <pc:docMk/>
            <pc:sldMk cId="3658832495" sldId="2141411846"/>
            <ac:spMk id="41" creationId="{C834DFAD-F826-1387-7500-5C9907F3C4A8}"/>
          </ac:spMkLst>
        </pc:spChg>
        <pc:spChg chg="add del mod">
          <ac:chgData name="Gasteiger, Cassidy M" userId="49e4247d-81de-4625-ae16-f189e0b7e529" providerId="ADAL" clId="{EFB976C6-EC52-4602-90C8-86B8954E5255}" dt="2023-03-31T00:15:40.386" v="33128" actId="478"/>
          <ac:spMkLst>
            <pc:docMk/>
            <pc:sldMk cId="3658832495" sldId="2141411846"/>
            <ac:spMk id="42" creationId="{DCE86C9D-D206-2DA1-BECA-5ABECE100339}"/>
          </ac:spMkLst>
        </pc:spChg>
        <pc:spChg chg="add del mod">
          <ac:chgData name="Gasteiger, Cassidy M" userId="49e4247d-81de-4625-ae16-f189e0b7e529" providerId="ADAL" clId="{EFB976C6-EC52-4602-90C8-86B8954E5255}" dt="2023-03-31T00:18:23.992" v="33378" actId="478"/>
          <ac:spMkLst>
            <pc:docMk/>
            <pc:sldMk cId="3658832495" sldId="2141411846"/>
            <ac:spMk id="43" creationId="{DB6617EE-905B-DF1A-42B6-7EFB1B3FB0BC}"/>
          </ac:spMkLst>
        </pc:spChg>
        <pc:spChg chg="add mod">
          <ac:chgData name="Gasteiger, Cassidy M" userId="49e4247d-81de-4625-ae16-f189e0b7e529" providerId="ADAL" clId="{EFB976C6-EC52-4602-90C8-86B8954E5255}" dt="2023-03-31T00:24:37.297" v="33537" actId="1038"/>
          <ac:spMkLst>
            <pc:docMk/>
            <pc:sldMk cId="3658832495" sldId="2141411846"/>
            <ac:spMk id="44" creationId="{B56FB06A-80F4-C7B2-AFB5-C9C5CAAABDB7}"/>
          </ac:spMkLst>
        </pc:spChg>
        <pc:spChg chg="add del mod">
          <ac:chgData name="Gasteiger, Cassidy M" userId="49e4247d-81de-4625-ae16-f189e0b7e529" providerId="ADAL" clId="{EFB976C6-EC52-4602-90C8-86B8954E5255}" dt="2023-03-31T00:19:07.016" v="33391" actId="478"/>
          <ac:spMkLst>
            <pc:docMk/>
            <pc:sldMk cId="3658832495" sldId="2141411846"/>
            <ac:spMk id="45" creationId="{FA12A744-54C3-7452-E67E-C74F4EA3FB3F}"/>
          </ac:spMkLst>
        </pc:spChg>
        <pc:spChg chg="add mod">
          <ac:chgData name="Gasteiger, Cassidy M" userId="49e4247d-81de-4625-ae16-f189e0b7e529" providerId="ADAL" clId="{EFB976C6-EC52-4602-90C8-86B8954E5255}" dt="2023-03-31T00:24:55.588" v="33561" actId="1035"/>
          <ac:spMkLst>
            <pc:docMk/>
            <pc:sldMk cId="3658832495" sldId="2141411846"/>
            <ac:spMk id="46" creationId="{6B155FD9-0D31-CD2A-FD2A-52451AE8DB57}"/>
          </ac:spMkLst>
        </pc:spChg>
        <pc:spChg chg="add del mod">
          <ac:chgData name="Gasteiger, Cassidy M" userId="49e4247d-81de-4625-ae16-f189e0b7e529" providerId="ADAL" clId="{EFB976C6-EC52-4602-90C8-86B8954E5255}" dt="2023-03-31T00:19:05.936" v="33390" actId="478"/>
          <ac:spMkLst>
            <pc:docMk/>
            <pc:sldMk cId="3658832495" sldId="2141411846"/>
            <ac:spMk id="47" creationId="{3552722D-1553-D8B1-B295-F5D2B2D0FD71}"/>
          </ac:spMkLst>
        </pc:spChg>
        <pc:spChg chg="mod">
          <ac:chgData name="Gasteiger, Cassidy M" userId="49e4247d-81de-4625-ae16-f189e0b7e529" providerId="ADAL" clId="{EFB976C6-EC52-4602-90C8-86B8954E5255}" dt="2023-03-31T00:19:36.776" v="33443" actId="207"/>
          <ac:spMkLst>
            <pc:docMk/>
            <pc:sldMk cId="3658832495" sldId="2141411846"/>
            <ac:spMk id="49" creationId="{F1711BE7-82E5-1286-FBF9-95D33B28912F}"/>
          </ac:spMkLst>
        </pc:spChg>
        <pc:spChg chg="mod">
          <ac:chgData name="Gasteiger, Cassidy M" userId="49e4247d-81de-4625-ae16-f189e0b7e529" providerId="ADAL" clId="{EFB976C6-EC52-4602-90C8-86B8954E5255}" dt="2023-03-31T00:19:21.722" v="33426" actId="20577"/>
          <ac:spMkLst>
            <pc:docMk/>
            <pc:sldMk cId="3658832495" sldId="2141411846"/>
            <ac:spMk id="51" creationId="{D3DC835C-2E4F-7F3B-0749-53FD856BAF84}"/>
          </ac:spMkLst>
        </pc:spChg>
        <pc:spChg chg="mod">
          <ac:chgData name="Gasteiger, Cassidy M" userId="49e4247d-81de-4625-ae16-f189e0b7e529" providerId="ADAL" clId="{EFB976C6-EC52-4602-90C8-86B8954E5255}" dt="2023-03-31T00:21:01.536" v="33494" actId="20577"/>
          <ac:spMkLst>
            <pc:docMk/>
            <pc:sldMk cId="3658832495" sldId="2141411846"/>
            <ac:spMk id="54" creationId="{99C51F38-FD6A-47B0-7BA1-BAFF4BF02E56}"/>
          </ac:spMkLst>
        </pc:spChg>
        <pc:spChg chg="mod">
          <ac:chgData name="Gasteiger, Cassidy M" userId="49e4247d-81de-4625-ae16-f189e0b7e529" providerId="ADAL" clId="{EFB976C6-EC52-4602-90C8-86B8954E5255}" dt="2023-03-31T00:21:13.256" v="33509" actId="20577"/>
          <ac:spMkLst>
            <pc:docMk/>
            <pc:sldMk cId="3658832495" sldId="2141411846"/>
            <ac:spMk id="56" creationId="{A15B5072-D6B3-A952-08A8-21A753912890}"/>
          </ac:spMkLst>
        </pc:spChg>
        <pc:spChg chg="mod ord">
          <ac:chgData name="Gasteiger, Cassidy M" userId="49e4247d-81de-4625-ae16-f189e0b7e529" providerId="ADAL" clId="{EFB976C6-EC52-4602-90C8-86B8954E5255}" dt="2023-03-30T22:14:34.766" v="32505" actId="20577"/>
          <ac:spMkLst>
            <pc:docMk/>
            <pc:sldMk cId="3658832495" sldId="2141411846"/>
            <ac:spMk id="194" creationId="{D915D6B4-08F7-445F-8151-52E4C3E905E3}"/>
          </ac:spMkLst>
        </pc:spChg>
        <pc:spChg chg="mod">
          <ac:chgData name="Gasteiger, Cassidy M" userId="49e4247d-81de-4625-ae16-f189e0b7e529" providerId="ADAL" clId="{EFB976C6-EC52-4602-90C8-86B8954E5255}" dt="2023-03-30T00:09:18.617" v="13788" actId="1076"/>
          <ac:spMkLst>
            <pc:docMk/>
            <pc:sldMk cId="3658832495" sldId="2141411846"/>
            <ac:spMk id="195" creationId="{EDA6B406-4C92-476F-8401-1200D903A65E}"/>
          </ac:spMkLst>
        </pc:spChg>
        <pc:spChg chg="mod">
          <ac:chgData name="Gasteiger, Cassidy M" userId="49e4247d-81de-4625-ae16-f189e0b7e529" providerId="ADAL" clId="{EFB976C6-EC52-4602-90C8-86B8954E5255}" dt="2023-03-28T20:45:27.540" v="7730" actId="208"/>
          <ac:spMkLst>
            <pc:docMk/>
            <pc:sldMk cId="3658832495" sldId="2141411846"/>
            <ac:spMk id="196" creationId="{0A79B89A-F2E5-4238-8AC1-C785F29DC472}"/>
          </ac:spMkLst>
        </pc:spChg>
        <pc:spChg chg="mod">
          <ac:chgData name="Gasteiger, Cassidy M" userId="49e4247d-81de-4625-ae16-f189e0b7e529" providerId="ADAL" clId="{EFB976C6-EC52-4602-90C8-86B8954E5255}" dt="2023-03-28T20:51:21.576" v="7743" actId="208"/>
          <ac:spMkLst>
            <pc:docMk/>
            <pc:sldMk cId="3658832495" sldId="2141411846"/>
            <ac:spMk id="198" creationId="{EBBC5456-A806-4A05-9441-84ECB5AC8E55}"/>
          </ac:spMkLst>
        </pc:spChg>
        <pc:spChg chg="mod">
          <ac:chgData name="Gasteiger, Cassidy M" userId="49e4247d-81de-4625-ae16-f189e0b7e529" providerId="ADAL" clId="{EFB976C6-EC52-4602-90C8-86B8954E5255}" dt="2023-03-29T01:06:42.031" v="7888" actId="20577"/>
          <ac:spMkLst>
            <pc:docMk/>
            <pc:sldMk cId="3658832495" sldId="2141411846"/>
            <ac:spMk id="199" creationId="{62012B9D-58B6-42C4-9451-58BA25C8CB28}"/>
          </ac:spMkLst>
        </pc:spChg>
        <pc:spChg chg="mod">
          <ac:chgData name="Gasteiger, Cassidy M" userId="49e4247d-81de-4625-ae16-f189e0b7e529" providerId="ADAL" clId="{EFB976C6-EC52-4602-90C8-86B8954E5255}" dt="2023-03-30T22:01:02.333" v="32352" actId="208"/>
          <ac:spMkLst>
            <pc:docMk/>
            <pc:sldMk cId="3658832495" sldId="2141411846"/>
            <ac:spMk id="201" creationId="{9EB79E8B-DA14-454B-A625-236FE61E94D9}"/>
          </ac:spMkLst>
        </pc:spChg>
        <pc:spChg chg="mod">
          <ac:chgData name="Gasteiger, Cassidy M" userId="49e4247d-81de-4625-ae16-f189e0b7e529" providerId="ADAL" clId="{EFB976C6-EC52-4602-90C8-86B8954E5255}" dt="2023-03-30T01:27:17.023" v="14689" actId="20577"/>
          <ac:spMkLst>
            <pc:docMk/>
            <pc:sldMk cId="3658832495" sldId="2141411846"/>
            <ac:spMk id="202" creationId="{29E7D975-A05E-4E45-8CC9-2C5BFB738824}"/>
          </ac:spMkLst>
        </pc:spChg>
        <pc:spChg chg="mod">
          <ac:chgData name="Gasteiger, Cassidy M" userId="49e4247d-81de-4625-ae16-f189e0b7e529" providerId="ADAL" clId="{EFB976C6-EC52-4602-90C8-86B8954E5255}" dt="2023-03-30T22:00:25.972" v="32347" actId="208"/>
          <ac:spMkLst>
            <pc:docMk/>
            <pc:sldMk cId="3658832495" sldId="2141411846"/>
            <ac:spMk id="203" creationId="{50D088C0-83B7-45F4-BE2B-AFCE01F46BB6}"/>
          </ac:spMkLst>
        </pc:spChg>
        <pc:spChg chg="mod">
          <ac:chgData name="Gasteiger, Cassidy M" userId="49e4247d-81de-4625-ae16-f189e0b7e529" providerId="ADAL" clId="{EFB976C6-EC52-4602-90C8-86B8954E5255}" dt="2023-03-29T01:09:51.666" v="8013" actId="20577"/>
          <ac:spMkLst>
            <pc:docMk/>
            <pc:sldMk cId="3658832495" sldId="2141411846"/>
            <ac:spMk id="204" creationId="{0D9E8726-6CA7-495E-98A0-BD3CB7FA4ACF}"/>
          </ac:spMkLst>
        </pc:spChg>
        <pc:spChg chg="mod">
          <ac:chgData name="Gasteiger, Cassidy M" userId="49e4247d-81de-4625-ae16-f189e0b7e529" providerId="ADAL" clId="{EFB976C6-EC52-4602-90C8-86B8954E5255}" dt="2023-03-30T22:00:57.659" v="32351" actId="208"/>
          <ac:spMkLst>
            <pc:docMk/>
            <pc:sldMk cId="3658832495" sldId="2141411846"/>
            <ac:spMk id="205" creationId="{664A186B-63C7-4771-B1D5-0E72F24F15BB}"/>
          </ac:spMkLst>
        </pc:spChg>
        <pc:spChg chg="mod">
          <ac:chgData name="Gasteiger, Cassidy M" userId="49e4247d-81de-4625-ae16-f189e0b7e529" providerId="ADAL" clId="{EFB976C6-EC52-4602-90C8-86B8954E5255}" dt="2023-03-30T21:47:59.442" v="32128" actId="20577"/>
          <ac:spMkLst>
            <pc:docMk/>
            <pc:sldMk cId="3658832495" sldId="2141411846"/>
            <ac:spMk id="206" creationId="{7D4B1AED-B2F5-49A7-8042-22727CA06D3E}"/>
          </ac:spMkLst>
        </pc:spChg>
        <pc:spChg chg="mod">
          <ac:chgData name="Gasteiger, Cassidy M" userId="49e4247d-81de-4625-ae16-f189e0b7e529" providerId="ADAL" clId="{EFB976C6-EC52-4602-90C8-86B8954E5255}" dt="2023-03-30T22:00:21.910" v="32346" actId="208"/>
          <ac:spMkLst>
            <pc:docMk/>
            <pc:sldMk cId="3658832495" sldId="2141411846"/>
            <ac:spMk id="207" creationId="{8DD23C58-0625-4F9C-8B3F-D0E16F29823A}"/>
          </ac:spMkLst>
        </pc:spChg>
        <pc:spChg chg="mod">
          <ac:chgData name="Gasteiger, Cassidy M" userId="49e4247d-81de-4625-ae16-f189e0b7e529" providerId="ADAL" clId="{EFB976C6-EC52-4602-90C8-86B8954E5255}" dt="2023-03-30T22:15:28.314" v="32559" actId="20577"/>
          <ac:spMkLst>
            <pc:docMk/>
            <pc:sldMk cId="3658832495" sldId="2141411846"/>
            <ac:spMk id="208" creationId="{6BEA58A8-898E-4FE6-8D3A-7EF5A1C4588F}"/>
          </ac:spMkLst>
        </pc:spChg>
        <pc:spChg chg="mod">
          <ac:chgData name="Gasteiger, Cassidy M" userId="49e4247d-81de-4625-ae16-f189e0b7e529" providerId="ADAL" clId="{EFB976C6-EC52-4602-90C8-86B8954E5255}" dt="2023-03-30T22:00:10.376" v="32345" actId="208"/>
          <ac:spMkLst>
            <pc:docMk/>
            <pc:sldMk cId="3658832495" sldId="2141411846"/>
            <ac:spMk id="209" creationId="{A51459D5-3238-4C2C-A918-CF504E1B36BB}"/>
          </ac:spMkLst>
        </pc:spChg>
        <pc:spChg chg="mod">
          <ac:chgData name="Gasteiger, Cassidy M" userId="49e4247d-81de-4625-ae16-f189e0b7e529" providerId="ADAL" clId="{EFB976C6-EC52-4602-90C8-86B8954E5255}" dt="2023-03-30T22:00:30.686" v="32348" actId="208"/>
          <ac:spMkLst>
            <pc:docMk/>
            <pc:sldMk cId="3658832495" sldId="2141411846"/>
            <ac:spMk id="210" creationId="{531651B3-8A5D-42AE-89EC-0A65B6B36FDE}"/>
          </ac:spMkLst>
        </pc:spChg>
        <pc:spChg chg="mod">
          <ac:chgData name="Gasteiger, Cassidy M" userId="49e4247d-81de-4625-ae16-f189e0b7e529" providerId="ADAL" clId="{EFB976C6-EC52-4602-90C8-86B8954E5255}" dt="2023-03-31T00:17:03.428" v="33167" actId="20577"/>
          <ac:spMkLst>
            <pc:docMk/>
            <pc:sldMk cId="3658832495" sldId="2141411846"/>
            <ac:spMk id="211" creationId="{1ACAC143-171D-4062-9C25-D71C16B1B692}"/>
          </ac:spMkLst>
        </pc:spChg>
        <pc:spChg chg="del">
          <ac:chgData name="Gasteiger, Cassidy M" userId="49e4247d-81de-4625-ae16-f189e0b7e529" providerId="ADAL" clId="{EFB976C6-EC52-4602-90C8-86B8954E5255}" dt="2023-03-30T00:25:45.290" v="14350" actId="478"/>
          <ac:spMkLst>
            <pc:docMk/>
            <pc:sldMk cId="3658832495" sldId="2141411846"/>
            <ac:spMk id="216" creationId="{38128487-3B83-4BCE-B48C-15C8CBF7EA3B}"/>
          </ac:spMkLst>
        </pc:spChg>
        <pc:spChg chg="del">
          <ac:chgData name="Gasteiger, Cassidy M" userId="49e4247d-81de-4625-ae16-f189e0b7e529" providerId="ADAL" clId="{EFB976C6-EC52-4602-90C8-86B8954E5255}" dt="2023-03-30T00:25:51.500" v="14351" actId="478"/>
          <ac:spMkLst>
            <pc:docMk/>
            <pc:sldMk cId="3658832495" sldId="2141411846"/>
            <ac:spMk id="217" creationId="{24067200-AE1A-47E4-A299-CF6888106922}"/>
          </ac:spMkLst>
        </pc:spChg>
        <pc:spChg chg="del">
          <ac:chgData name="Gasteiger, Cassidy M" userId="49e4247d-81de-4625-ae16-f189e0b7e529" providerId="ADAL" clId="{EFB976C6-EC52-4602-90C8-86B8954E5255}" dt="2023-03-30T00:25:51.500" v="14351" actId="478"/>
          <ac:spMkLst>
            <pc:docMk/>
            <pc:sldMk cId="3658832495" sldId="2141411846"/>
            <ac:spMk id="218" creationId="{87D41954-68D7-4D18-9DB2-95BA08AFAADC}"/>
          </ac:spMkLst>
        </pc:spChg>
        <pc:spChg chg="del">
          <ac:chgData name="Gasteiger, Cassidy M" userId="49e4247d-81de-4625-ae16-f189e0b7e529" providerId="ADAL" clId="{EFB976C6-EC52-4602-90C8-86B8954E5255}" dt="2023-03-30T00:25:58.045" v="14354" actId="478"/>
          <ac:spMkLst>
            <pc:docMk/>
            <pc:sldMk cId="3658832495" sldId="2141411846"/>
            <ac:spMk id="219" creationId="{8D29B920-AAD1-447E-A189-D9A55891608B}"/>
          </ac:spMkLst>
        </pc:spChg>
        <pc:spChg chg="del">
          <ac:chgData name="Gasteiger, Cassidy M" userId="49e4247d-81de-4625-ae16-f189e0b7e529" providerId="ADAL" clId="{EFB976C6-EC52-4602-90C8-86B8954E5255}" dt="2023-03-30T00:25:51.500" v="14351" actId="478"/>
          <ac:spMkLst>
            <pc:docMk/>
            <pc:sldMk cId="3658832495" sldId="2141411846"/>
            <ac:spMk id="220" creationId="{5F674EB3-87FD-4C6E-AD12-A10FAC8C19B5}"/>
          </ac:spMkLst>
        </pc:spChg>
        <pc:spChg chg="del">
          <ac:chgData name="Gasteiger, Cassidy M" userId="49e4247d-81de-4625-ae16-f189e0b7e529" providerId="ADAL" clId="{EFB976C6-EC52-4602-90C8-86B8954E5255}" dt="2023-03-30T00:25:51.500" v="14351" actId="478"/>
          <ac:spMkLst>
            <pc:docMk/>
            <pc:sldMk cId="3658832495" sldId="2141411846"/>
            <ac:spMk id="224" creationId="{C7EA6D57-473F-4CD6-BFDD-020B6FC59909}"/>
          </ac:spMkLst>
        </pc:spChg>
        <pc:spChg chg="del">
          <ac:chgData name="Gasteiger, Cassidy M" userId="49e4247d-81de-4625-ae16-f189e0b7e529" providerId="ADAL" clId="{EFB976C6-EC52-4602-90C8-86B8954E5255}" dt="2023-03-30T00:25:53.864" v="14352" actId="478"/>
          <ac:spMkLst>
            <pc:docMk/>
            <pc:sldMk cId="3658832495" sldId="2141411846"/>
            <ac:spMk id="252" creationId="{6C0E6640-3F3A-4A07-8FA1-EF223B1EAEA4}"/>
          </ac:spMkLst>
        </pc:spChg>
        <pc:spChg chg="mod">
          <ac:chgData name="Gasteiger, Cassidy M" userId="49e4247d-81de-4625-ae16-f189e0b7e529" providerId="ADAL" clId="{EFB976C6-EC52-4602-90C8-86B8954E5255}" dt="2023-03-30T22:19:04.697" v="32713" actId="1076"/>
          <ac:spMkLst>
            <pc:docMk/>
            <pc:sldMk cId="3658832495" sldId="2141411846"/>
            <ac:spMk id="253" creationId="{7255A71D-4D14-42BB-899A-A0D7BB0A44E0}"/>
          </ac:spMkLst>
        </pc:spChg>
        <pc:spChg chg="del">
          <ac:chgData name="Gasteiger, Cassidy M" userId="49e4247d-81de-4625-ae16-f189e0b7e529" providerId="ADAL" clId="{EFB976C6-EC52-4602-90C8-86B8954E5255}" dt="2023-03-30T01:27:22.623" v="14691" actId="478"/>
          <ac:spMkLst>
            <pc:docMk/>
            <pc:sldMk cId="3658832495" sldId="2141411846"/>
            <ac:spMk id="257" creationId="{5DDF44BC-53AB-4E26-B1A7-E349114165E6}"/>
          </ac:spMkLst>
        </pc:spChg>
        <pc:spChg chg="mod">
          <ac:chgData name="Gasteiger, Cassidy M" userId="49e4247d-81de-4625-ae16-f189e0b7e529" providerId="ADAL" clId="{EFB976C6-EC52-4602-90C8-86B8954E5255}" dt="2023-03-29T01:10:57.816" v="8039" actId="20577"/>
          <ac:spMkLst>
            <pc:docMk/>
            <pc:sldMk cId="3658832495" sldId="2141411846"/>
            <ac:spMk id="263" creationId="{B62C71DA-ED35-490D-81DD-E08168DD4484}"/>
          </ac:spMkLst>
        </pc:spChg>
        <pc:spChg chg="del">
          <ac:chgData name="Gasteiger, Cassidy M" userId="49e4247d-81de-4625-ae16-f189e0b7e529" providerId="ADAL" clId="{EFB976C6-EC52-4602-90C8-86B8954E5255}" dt="2023-03-28T20:43:00.981" v="7600" actId="478"/>
          <ac:spMkLst>
            <pc:docMk/>
            <pc:sldMk cId="3658832495" sldId="2141411846"/>
            <ac:spMk id="264" creationId="{BA6B68E3-53A0-431C-AB1B-EB23FEE43AC0}"/>
          </ac:spMkLst>
        </pc:spChg>
        <pc:grpChg chg="add del mod">
          <ac:chgData name="Gasteiger, Cassidy M" userId="49e4247d-81de-4625-ae16-f189e0b7e529" providerId="ADAL" clId="{EFB976C6-EC52-4602-90C8-86B8954E5255}" dt="2023-03-30T21:51:47.106" v="32167" actId="478"/>
          <ac:grpSpMkLst>
            <pc:docMk/>
            <pc:sldMk cId="3658832495" sldId="2141411846"/>
            <ac:grpSpMk id="6" creationId="{2944930D-4B91-BAFB-69BC-0F36DE36EBCE}"/>
          </ac:grpSpMkLst>
        </pc:grpChg>
        <pc:grpChg chg="add mod">
          <ac:chgData name="Gasteiger, Cassidy M" userId="49e4247d-81de-4625-ae16-f189e0b7e529" providerId="ADAL" clId="{EFB976C6-EC52-4602-90C8-86B8954E5255}" dt="2023-03-30T21:51:47.495" v="32168"/>
          <ac:grpSpMkLst>
            <pc:docMk/>
            <pc:sldMk cId="3658832495" sldId="2141411846"/>
            <ac:grpSpMk id="10" creationId="{6A7601FC-DE21-4A2E-6B1E-EC19B0102ECD}"/>
          </ac:grpSpMkLst>
        </pc:grpChg>
        <pc:grpChg chg="add mod">
          <ac:chgData name="Gasteiger, Cassidy M" userId="49e4247d-81de-4625-ae16-f189e0b7e529" providerId="ADAL" clId="{EFB976C6-EC52-4602-90C8-86B8954E5255}" dt="2023-03-30T22:25:04.027" v="32828" actId="1076"/>
          <ac:grpSpMkLst>
            <pc:docMk/>
            <pc:sldMk cId="3658832495" sldId="2141411846"/>
            <ac:grpSpMk id="13" creationId="{CC1454DB-3561-117A-158B-41D65C901EB6}"/>
          </ac:grpSpMkLst>
        </pc:grpChg>
        <pc:grpChg chg="add mod">
          <ac:chgData name="Gasteiger, Cassidy M" userId="49e4247d-81de-4625-ae16-f189e0b7e529" providerId="ADAL" clId="{EFB976C6-EC52-4602-90C8-86B8954E5255}" dt="2023-03-30T22:18:57.219" v="32712" actId="555"/>
          <ac:grpSpMkLst>
            <pc:docMk/>
            <pc:sldMk cId="3658832495" sldId="2141411846"/>
            <ac:grpSpMk id="17" creationId="{8BE9314C-63CA-CA0C-5702-827FD4F844D8}"/>
          </ac:grpSpMkLst>
        </pc:grpChg>
        <pc:grpChg chg="add mod">
          <ac:chgData name="Gasteiger, Cassidy M" userId="49e4247d-81de-4625-ae16-f189e0b7e529" providerId="ADAL" clId="{EFB976C6-EC52-4602-90C8-86B8954E5255}" dt="2023-03-30T22:18:57.219" v="32712" actId="555"/>
          <ac:grpSpMkLst>
            <pc:docMk/>
            <pc:sldMk cId="3658832495" sldId="2141411846"/>
            <ac:grpSpMk id="27" creationId="{CA7F22E7-1356-8389-0CFA-A5A2F0A0B12C}"/>
          </ac:grpSpMkLst>
        </pc:grpChg>
        <pc:grpChg chg="add mod">
          <ac:chgData name="Gasteiger, Cassidy M" userId="49e4247d-81de-4625-ae16-f189e0b7e529" providerId="ADAL" clId="{EFB976C6-EC52-4602-90C8-86B8954E5255}" dt="2023-03-30T22:18:57.219" v="32712" actId="555"/>
          <ac:grpSpMkLst>
            <pc:docMk/>
            <pc:sldMk cId="3658832495" sldId="2141411846"/>
            <ac:grpSpMk id="28" creationId="{1B251D81-6243-9096-3D26-BDCDDBCEE8A8}"/>
          </ac:grpSpMkLst>
        </pc:grpChg>
        <pc:grpChg chg="add mod">
          <ac:chgData name="Gasteiger, Cassidy M" userId="49e4247d-81de-4625-ae16-f189e0b7e529" providerId="ADAL" clId="{EFB976C6-EC52-4602-90C8-86B8954E5255}" dt="2023-03-30T22:25:04.027" v="32828" actId="1076"/>
          <ac:grpSpMkLst>
            <pc:docMk/>
            <pc:sldMk cId="3658832495" sldId="2141411846"/>
            <ac:grpSpMk id="29" creationId="{15B7FB8C-6935-1FC6-AE30-7C47B5EF8A40}"/>
          </ac:grpSpMkLst>
        </pc:grpChg>
        <pc:grpChg chg="add mod">
          <ac:chgData name="Gasteiger, Cassidy M" userId="49e4247d-81de-4625-ae16-f189e0b7e529" providerId="ADAL" clId="{EFB976C6-EC52-4602-90C8-86B8954E5255}" dt="2023-03-30T22:18:57.219" v="32712" actId="555"/>
          <ac:grpSpMkLst>
            <pc:docMk/>
            <pc:sldMk cId="3658832495" sldId="2141411846"/>
            <ac:grpSpMk id="35" creationId="{441D7EC1-74DB-EFCF-7D38-F3E1F907EA87}"/>
          </ac:grpSpMkLst>
        </pc:grpChg>
        <pc:grpChg chg="add mod">
          <ac:chgData name="Gasteiger, Cassidy M" userId="49e4247d-81de-4625-ae16-f189e0b7e529" providerId="ADAL" clId="{EFB976C6-EC52-4602-90C8-86B8954E5255}" dt="2023-03-31T00:24:37.297" v="33537" actId="1038"/>
          <ac:grpSpMkLst>
            <pc:docMk/>
            <pc:sldMk cId="3658832495" sldId="2141411846"/>
            <ac:grpSpMk id="48" creationId="{98AEDAFB-A9B2-B6CE-4838-CC2CF5F85346}"/>
          </ac:grpSpMkLst>
        </pc:grpChg>
        <pc:grpChg chg="add mod">
          <ac:chgData name="Gasteiger, Cassidy M" userId="49e4247d-81de-4625-ae16-f189e0b7e529" providerId="ADAL" clId="{EFB976C6-EC52-4602-90C8-86B8954E5255}" dt="2023-03-31T00:24:55.588" v="33561" actId="1035"/>
          <ac:grpSpMkLst>
            <pc:docMk/>
            <pc:sldMk cId="3658832495" sldId="2141411846"/>
            <ac:grpSpMk id="53" creationId="{E2C31EB0-71D0-2FB7-5A0D-7325CFFE1806}"/>
          </ac:grpSpMkLst>
        </pc:grpChg>
        <pc:grpChg chg="mod">
          <ac:chgData name="Gasteiger, Cassidy M" userId="49e4247d-81de-4625-ae16-f189e0b7e529" providerId="ADAL" clId="{EFB976C6-EC52-4602-90C8-86B8954E5255}" dt="2023-03-30T00:40:30.122" v="14536" actId="1076"/>
          <ac:grpSpMkLst>
            <pc:docMk/>
            <pc:sldMk cId="3658832495" sldId="2141411846"/>
            <ac:grpSpMk id="197" creationId="{6B111C1D-B986-4851-BA44-F9B69A52B519}"/>
          </ac:grpSpMkLst>
        </pc:grpChg>
        <pc:grpChg chg="del">
          <ac:chgData name="Gasteiger, Cassidy M" userId="49e4247d-81de-4625-ae16-f189e0b7e529" providerId="ADAL" clId="{EFB976C6-EC52-4602-90C8-86B8954E5255}" dt="2023-03-30T00:25:59.531" v="14355" actId="478"/>
          <ac:grpSpMkLst>
            <pc:docMk/>
            <pc:sldMk cId="3658832495" sldId="2141411846"/>
            <ac:grpSpMk id="225" creationId="{523E4DF9-0688-4762-A65B-B29C918A032D}"/>
          </ac:grpSpMkLst>
        </pc:grpChg>
        <pc:grpChg chg="del">
          <ac:chgData name="Gasteiger, Cassidy M" userId="49e4247d-81de-4625-ae16-f189e0b7e529" providerId="ADAL" clId="{EFB976C6-EC52-4602-90C8-86B8954E5255}" dt="2023-03-30T00:25:51.500" v="14351" actId="478"/>
          <ac:grpSpMkLst>
            <pc:docMk/>
            <pc:sldMk cId="3658832495" sldId="2141411846"/>
            <ac:grpSpMk id="228" creationId="{FA8798CA-13F8-4D9B-8402-B0D44ABC309D}"/>
          </ac:grpSpMkLst>
        </pc:grpChg>
        <pc:grpChg chg="del">
          <ac:chgData name="Gasteiger, Cassidy M" userId="49e4247d-81de-4625-ae16-f189e0b7e529" providerId="ADAL" clId="{EFB976C6-EC52-4602-90C8-86B8954E5255}" dt="2023-03-30T00:25:51.500" v="14351" actId="478"/>
          <ac:grpSpMkLst>
            <pc:docMk/>
            <pc:sldMk cId="3658832495" sldId="2141411846"/>
            <ac:grpSpMk id="238" creationId="{34C174DF-40BE-4034-9E58-E8583D8268D4}"/>
          </ac:grpSpMkLst>
        </pc:grpChg>
        <pc:graphicFrameChg chg="add del mod">
          <ac:chgData name="Gasteiger, Cassidy M" userId="49e4247d-81de-4625-ae16-f189e0b7e529" providerId="ADAL" clId="{EFB976C6-EC52-4602-90C8-86B8954E5255}" dt="2023-03-29T23:58:47.111" v="13742" actId="21"/>
          <ac:graphicFrameMkLst>
            <pc:docMk/>
            <pc:sldMk cId="3658832495" sldId="2141411846"/>
            <ac:graphicFrameMk id="7" creationId="{30815D45-2F4C-5F9A-B13C-904B168C7D25}"/>
          </ac:graphicFrameMkLst>
        </pc:graphicFrameChg>
        <pc:graphicFrameChg chg="add mod modGraphic">
          <ac:chgData name="Gasteiger, Cassidy M" userId="49e4247d-81de-4625-ae16-f189e0b7e529" providerId="ADAL" clId="{EFB976C6-EC52-4602-90C8-86B8954E5255}" dt="2023-03-30T01:33:09.181" v="14783" actId="1036"/>
          <ac:graphicFrameMkLst>
            <pc:docMk/>
            <pc:sldMk cId="3658832495" sldId="2141411846"/>
            <ac:graphicFrameMk id="30" creationId="{B65BC85A-9569-02DC-D8BA-697F3A0F8A59}"/>
          </ac:graphicFrameMkLst>
        </pc:graphicFrameChg>
        <pc:graphicFrameChg chg="add mod">
          <ac:chgData name="Gasteiger, Cassidy M" userId="49e4247d-81de-4625-ae16-f189e0b7e529" providerId="ADAL" clId="{EFB976C6-EC52-4602-90C8-86B8954E5255}" dt="2023-03-30T22:10:44.532" v="32442" actId="2085"/>
          <ac:graphicFrameMkLst>
            <pc:docMk/>
            <pc:sldMk cId="3658832495" sldId="2141411846"/>
            <ac:graphicFrameMk id="31" creationId="{2514FB6B-66E8-9614-F940-AF0F646AEDDE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22:15:31.930" v="32560" actId="478"/>
          <ac:graphicFrameMkLst>
            <pc:docMk/>
            <pc:sldMk cId="3658832495" sldId="2141411846"/>
            <ac:graphicFrameMk id="212" creationId="{437E20B5-DCF4-409E-81A9-106D4786989E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22:15:38.917" v="32561" actId="478"/>
          <ac:graphicFrameMkLst>
            <pc:docMk/>
            <pc:sldMk cId="3658832495" sldId="2141411846"/>
            <ac:graphicFrameMk id="213" creationId="{48CB47A3-28C8-41E3-B5C5-2F671E45BBD3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1T00:15:49.786" v="33130" actId="478"/>
          <ac:graphicFrameMkLst>
            <pc:docMk/>
            <pc:sldMk cId="3658832495" sldId="2141411846"/>
            <ac:graphicFrameMk id="214" creationId="{4074436B-22D8-45B5-A4C4-115675B2609B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1T00:15:47.492" v="33129" actId="478"/>
          <ac:graphicFrameMkLst>
            <pc:docMk/>
            <pc:sldMk cId="3658832495" sldId="2141411846"/>
            <ac:graphicFrameMk id="215" creationId="{6E32EB89-5BFB-4BD2-A731-E318A9B82DBE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0:25:56.357" v="14353" actId="478"/>
          <ac:graphicFrameMkLst>
            <pc:docMk/>
            <pc:sldMk cId="3658832495" sldId="2141411846"/>
            <ac:graphicFrameMk id="221" creationId="{ABF33C21-58AB-417F-972A-DBAA3FA70253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0:25:51.500" v="14351" actId="478"/>
          <ac:graphicFrameMkLst>
            <pc:docMk/>
            <pc:sldMk cId="3658832495" sldId="2141411846"/>
            <ac:graphicFrameMk id="222" creationId="{C05C3E3F-8DE9-4677-9BA0-AB131206C962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0:25:51.500" v="14351" actId="478"/>
          <ac:graphicFrameMkLst>
            <pc:docMk/>
            <pc:sldMk cId="3658832495" sldId="2141411846"/>
            <ac:graphicFrameMk id="223" creationId="{C1A15989-A7AD-4F51-BBEE-8A9AFAAC0608}"/>
          </ac:graphicFrameMkLst>
        </pc:graphicFrameChg>
        <pc:graphicFrameChg chg="mod modGraphic">
          <ac:chgData name="Gasteiger, Cassidy M" userId="49e4247d-81de-4625-ae16-f189e0b7e529" providerId="ADAL" clId="{EFB976C6-EC52-4602-90C8-86B8954E5255}" dt="2023-03-30T21:50:19.986" v="32145" actId="572"/>
          <ac:graphicFrameMkLst>
            <pc:docMk/>
            <pc:sldMk cId="3658832495" sldId="2141411846"/>
            <ac:graphicFrameMk id="254" creationId="{4B043786-CF3E-42B7-9234-B5BC7139B0FB}"/>
          </ac:graphicFrameMkLst>
        </pc:graphicFrameChg>
        <pc:graphicFrameChg chg="mod">
          <ac:chgData name="Gasteiger, Cassidy M" userId="49e4247d-81de-4625-ae16-f189e0b7e529" providerId="ADAL" clId="{EFB976C6-EC52-4602-90C8-86B8954E5255}" dt="2023-03-30T21:56:01.897" v="32188"/>
          <ac:graphicFrameMkLst>
            <pc:docMk/>
            <pc:sldMk cId="3658832495" sldId="2141411846"/>
            <ac:graphicFrameMk id="255" creationId="{43012138-E161-4815-A10A-57497B36CA6F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1:27:20.464" v="14690" actId="478"/>
          <ac:graphicFrameMkLst>
            <pc:docMk/>
            <pc:sldMk cId="3658832495" sldId="2141411846"/>
            <ac:graphicFrameMk id="256" creationId="{E5710A92-AC13-4A4C-B9F9-6E3C55471858}"/>
          </ac:graphicFrameMkLst>
        </pc:graphicFrameChg>
        <pc:graphicFrameChg chg="mod modGraphic">
          <ac:chgData name="Gasteiger, Cassidy M" userId="49e4247d-81de-4625-ae16-f189e0b7e529" providerId="ADAL" clId="{EFB976C6-EC52-4602-90C8-86B8954E5255}" dt="2023-03-30T22:12:50.876" v="32475" actId="1036"/>
          <ac:graphicFrameMkLst>
            <pc:docMk/>
            <pc:sldMk cId="3658832495" sldId="2141411846"/>
            <ac:graphicFrameMk id="259" creationId="{2FADA289-8F35-4FBF-B648-36375646E20F}"/>
          </ac:graphicFrameMkLst>
        </pc:graphicFrameChg>
        <pc:graphicFrameChg chg="mod">
          <ac:chgData name="Gasteiger, Cassidy M" userId="49e4247d-81de-4625-ae16-f189e0b7e529" providerId="ADAL" clId="{EFB976C6-EC52-4602-90C8-86B8954E5255}" dt="2023-03-30T22:12:39.265" v="32465" actId="207"/>
          <ac:graphicFrameMkLst>
            <pc:docMk/>
            <pc:sldMk cId="3658832495" sldId="2141411846"/>
            <ac:graphicFrameMk id="260" creationId="{410AE525-271B-40BE-A1D1-2B07F398876A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21:58:01.477" v="32191" actId="478"/>
          <ac:graphicFrameMkLst>
            <pc:docMk/>
            <pc:sldMk cId="3658832495" sldId="2141411846"/>
            <ac:graphicFrameMk id="261" creationId="{77D2B91B-CCA6-4025-8C1E-1D40DE0778A6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21:58:05.088" v="32192" actId="478"/>
          <ac:graphicFrameMkLst>
            <pc:docMk/>
            <pc:sldMk cId="3658832495" sldId="2141411846"/>
            <ac:graphicFrameMk id="262" creationId="{20CA5EE9-04B9-49A5-B3DE-FEE66CC168B3}"/>
          </ac:graphicFrameMkLst>
        </pc:graphicFrameChg>
        <pc:picChg chg="add mod">
          <ac:chgData name="Gasteiger, Cassidy M" userId="49e4247d-81de-4625-ae16-f189e0b7e529" providerId="ADAL" clId="{EFB976C6-EC52-4602-90C8-86B8954E5255}" dt="2023-03-28T20:42:40.161" v="7597"/>
          <ac:picMkLst>
            <pc:docMk/>
            <pc:sldMk cId="3658832495" sldId="2141411846"/>
            <ac:picMk id="4" creationId="{13CB42BE-C50B-9279-B5A7-3760DD465F24}"/>
          </ac:picMkLst>
        </pc:picChg>
        <pc:picChg chg="del">
          <ac:chgData name="Gasteiger, Cassidy M" userId="49e4247d-81de-4625-ae16-f189e0b7e529" providerId="ADAL" clId="{EFB976C6-EC52-4602-90C8-86B8954E5255}" dt="2023-03-30T01:27:24.225" v="14692" actId="478"/>
          <ac:picMkLst>
            <pc:docMk/>
            <pc:sldMk cId="3658832495" sldId="2141411846"/>
            <ac:picMk id="258" creationId="{8A85A586-D9D0-4C2E-88CD-932D94314286}"/>
          </ac:picMkLst>
        </pc:picChg>
        <pc:picChg chg="del">
          <ac:chgData name="Gasteiger, Cassidy M" userId="49e4247d-81de-4625-ae16-f189e0b7e529" providerId="ADAL" clId="{EFB976C6-EC52-4602-90C8-86B8954E5255}" dt="2023-03-28T20:43:31.341" v="7611" actId="478"/>
          <ac:picMkLst>
            <pc:docMk/>
            <pc:sldMk cId="3658832495" sldId="2141411846"/>
            <ac:picMk id="265" creationId="{D5398A7F-9461-4D92-83D3-CED658FA9C25}"/>
          </ac:picMkLst>
        </pc:picChg>
        <pc:cxnChg chg="add del mod">
          <ac:chgData name="Gasteiger, Cassidy M" userId="49e4247d-81de-4625-ae16-f189e0b7e529" providerId="ADAL" clId="{EFB976C6-EC52-4602-90C8-86B8954E5255}" dt="2023-03-30T00:40:58.064" v="14538" actId="478"/>
          <ac:cxnSpMkLst>
            <pc:docMk/>
            <pc:sldMk cId="3658832495" sldId="2141411846"/>
            <ac:cxnSpMk id="11" creationId="{B441E2F2-3624-533F-54EC-865310AD42BB}"/>
          </ac:cxnSpMkLst>
        </pc:cxnChg>
        <pc:cxnChg chg="mod">
          <ac:chgData name="Gasteiger, Cassidy M" userId="49e4247d-81de-4625-ae16-f189e0b7e529" providerId="ADAL" clId="{EFB976C6-EC52-4602-90C8-86B8954E5255}" dt="2023-03-31T00:20:12.376" v="33447" actId="208"/>
          <ac:cxnSpMkLst>
            <pc:docMk/>
            <pc:sldMk cId="3658832495" sldId="2141411846"/>
            <ac:cxnSpMk id="15" creationId="{9C6DE27E-2138-AAC2-499A-6B8ED6D9F759}"/>
          </ac:cxnSpMkLst>
        </pc:cxnChg>
        <pc:cxnChg chg="add del mod">
          <ac:chgData name="Gasteiger, Cassidy M" userId="49e4247d-81de-4625-ae16-f189e0b7e529" providerId="ADAL" clId="{EFB976C6-EC52-4602-90C8-86B8954E5255}" dt="2023-03-30T00:40:58.064" v="14538" actId="478"/>
          <ac:cxnSpMkLst>
            <pc:docMk/>
            <pc:sldMk cId="3658832495" sldId="2141411846"/>
            <ac:cxnSpMk id="16" creationId="{1A45A3F4-6850-67F2-6D83-B73ADB2066DA}"/>
          </ac:cxnSpMkLst>
        </pc:cxnChg>
        <pc:cxnChg chg="add mod">
          <ac:chgData name="Gasteiger, Cassidy M" userId="49e4247d-81de-4625-ae16-f189e0b7e529" providerId="ADAL" clId="{EFB976C6-EC52-4602-90C8-86B8954E5255}" dt="2023-03-30T00:44:30.050" v="14623" actId="164"/>
          <ac:cxnSpMkLst>
            <pc:docMk/>
            <pc:sldMk cId="3658832495" sldId="2141411846"/>
            <ac:cxnSpMk id="19" creationId="{181C40EC-FC01-CDE8-A6EC-90C6953877FB}"/>
          </ac:cxnSpMkLst>
        </pc:cxnChg>
        <pc:cxnChg chg="add mod">
          <ac:chgData name="Gasteiger, Cassidy M" userId="49e4247d-81de-4625-ae16-f189e0b7e529" providerId="ADAL" clId="{EFB976C6-EC52-4602-90C8-86B8954E5255}" dt="2023-03-30T00:44:47.933" v="14624" actId="164"/>
          <ac:cxnSpMkLst>
            <pc:docMk/>
            <pc:sldMk cId="3658832495" sldId="2141411846"/>
            <ac:cxnSpMk id="22" creationId="{C655AC76-A144-200A-FE18-C010C22B4867}"/>
          </ac:cxnSpMkLst>
        </pc:cxnChg>
        <pc:cxnChg chg="add mod">
          <ac:chgData name="Gasteiger, Cassidy M" userId="49e4247d-81de-4625-ae16-f189e0b7e529" providerId="ADAL" clId="{EFB976C6-EC52-4602-90C8-86B8954E5255}" dt="2023-03-31T00:19:58.519" v="33445" actId="208"/>
          <ac:cxnSpMkLst>
            <pc:docMk/>
            <pc:sldMk cId="3658832495" sldId="2141411846"/>
            <ac:cxnSpMk id="25" creationId="{4EB686F4-9D1A-ADEF-435D-C4C762630328}"/>
          </ac:cxnSpMkLst>
        </pc:cxnChg>
        <pc:cxnChg chg="mod">
          <ac:chgData name="Gasteiger, Cassidy M" userId="49e4247d-81de-4625-ae16-f189e0b7e529" providerId="ADAL" clId="{EFB976C6-EC52-4602-90C8-86B8954E5255}" dt="2023-03-30T22:17:25.854" v="32651"/>
          <ac:cxnSpMkLst>
            <pc:docMk/>
            <pc:sldMk cId="3658832495" sldId="2141411846"/>
            <ac:cxnSpMk id="33" creationId="{81523A10-9C34-531D-3DBD-2F3F6129D2EC}"/>
          </ac:cxnSpMkLst>
        </pc:cxnChg>
        <pc:cxnChg chg="mod">
          <ac:chgData name="Gasteiger, Cassidy M" userId="49e4247d-81de-4625-ae16-f189e0b7e529" providerId="ADAL" clId="{EFB976C6-EC52-4602-90C8-86B8954E5255}" dt="2023-03-30T22:17:30.449" v="32653"/>
          <ac:cxnSpMkLst>
            <pc:docMk/>
            <pc:sldMk cId="3658832495" sldId="2141411846"/>
            <ac:cxnSpMk id="37" creationId="{EC28938D-D928-7A67-FD84-14509C4768C7}"/>
          </ac:cxnSpMkLst>
        </pc:cxnChg>
        <pc:cxnChg chg="mod">
          <ac:chgData name="Gasteiger, Cassidy M" userId="49e4247d-81de-4625-ae16-f189e0b7e529" providerId="ADAL" clId="{EFB976C6-EC52-4602-90C8-86B8954E5255}" dt="2023-03-31T00:19:34.537" v="33442" actId="208"/>
          <ac:cxnSpMkLst>
            <pc:docMk/>
            <pc:sldMk cId="3658832495" sldId="2141411846"/>
            <ac:cxnSpMk id="50" creationId="{F48725BB-BAAD-D0FC-BE6B-DBFAB4A76C5E}"/>
          </ac:cxnSpMkLst>
        </pc:cxnChg>
        <pc:cxnChg chg="mod">
          <ac:chgData name="Gasteiger, Cassidy M" userId="49e4247d-81de-4625-ae16-f189e0b7e529" providerId="ADAL" clId="{EFB976C6-EC52-4602-90C8-86B8954E5255}" dt="2023-03-31T00:20:43.509" v="33489"/>
          <ac:cxnSpMkLst>
            <pc:docMk/>
            <pc:sldMk cId="3658832495" sldId="2141411846"/>
            <ac:cxnSpMk id="55" creationId="{C5673199-C7C8-21C6-2316-ABD6E13331BE}"/>
          </ac:cxnSpMkLst>
        </pc:cxnChg>
      </pc:sldChg>
      <pc:sldChg chg="addSp delSp modSp add del mod">
        <pc:chgData name="Gasteiger, Cassidy M" userId="49e4247d-81de-4625-ae16-f189e0b7e529" providerId="ADAL" clId="{EFB976C6-EC52-4602-90C8-86B8954E5255}" dt="2023-03-29T19:02:13.790" v="12898" actId="2696"/>
        <pc:sldMkLst>
          <pc:docMk/>
          <pc:sldMk cId="1119427310" sldId="2141411847"/>
        </pc:sldMkLst>
        <pc:spChg chg="mod">
          <ac:chgData name="Gasteiger, Cassidy M" userId="49e4247d-81de-4625-ae16-f189e0b7e529" providerId="ADAL" clId="{EFB976C6-EC52-4602-90C8-86B8954E5255}" dt="2023-03-29T01:12:44.848" v="8084" actId="20577"/>
          <ac:spMkLst>
            <pc:docMk/>
            <pc:sldMk cId="1119427310" sldId="2141411847"/>
            <ac:spMk id="8" creationId="{2423C809-83F6-B6E3-EEA1-3B964A3937D8}"/>
          </ac:spMkLst>
        </pc:spChg>
        <pc:spChg chg="mod">
          <ac:chgData name="Gasteiger, Cassidy M" userId="49e4247d-81de-4625-ae16-f189e0b7e529" providerId="ADAL" clId="{EFB976C6-EC52-4602-90C8-86B8954E5255}" dt="2023-03-29T01:16:02.647" v="8173" actId="1076"/>
          <ac:spMkLst>
            <pc:docMk/>
            <pc:sldMk cId="1119427310" sldId="2141411847"/>
            <ac:spMk id="9" creationId="{960BC8B9-2A0D-D1EF-4183-D1EBE51A038C}"/>
          </ac:spMkLst>
        </pc:spChg>
        <pc:spChg chg="mod">
          <ac:chgData name="Gasteiger, Cassidy M" userId="49e4247d-81de-4625-ae16-f189e0b7e529" providerId="ADAL" clId="{EFB976C6-EC52-4602-90C8-86B8954E5255}" dt="2023-03-29T01:15:55.657" v="8171" actId="255"/>
          <ac:spMkLst>
            <pc:docMk/>
            <pc:sldMk cId="1119427310" sldId="2141411847"/>
            <ac:spMk id="10" creationId="{D892A36C-BAB1-F1E4-EE74-59B63DB0F2E0}"/>
          </ac:spMkLst>
        </pc:spChg>
        <pc:spChg chg="mod">
          <ac:chgData name="Gasteiger, Cassidy M" userId="49e4247d-81de-4625-ae16-f189e0b7e529" providerId="ADAL" clId="{EFB976C6-EC52-4602-90C8-86B8954E5255}" dt="2023-03-29T01:17:19.296" v="8198" actId="20577"/>
          <ac:spMkLst>
            <pc:docMk/>
            <pc:sldMk cId="1119427310" sldId="2141411847"/>
            <ac:spMk id="194" creationId="{D915D6B4-08F7-445F-8151-52E4C3E905E3}"/>
          </ac:spMkLst>
        </pc:spChg>
        <pc:spChg chg="del">
          <ac:chgData name="Gasteiger, Cassidy M" userId="49e4247d-81de-4625-ae16-f189e0b7e529" providerId="ADAL" clId="{EFB976C6-EC52-4602-90C8-86B8954E5255}" dt="2023-03-29T01:13:05.707" v="8089" actId="478"/>
          <ac:spMkLst>
            <pc:docMk/>
            <pc:sldMk cId="1119427310" sldId="2141411847"/>
            <ac:spMk id="195" creationId="{EDA6B406-4C92-476F-8401-1200D903A65E}"/>
          </ac:spMkLst>
        </pc:spChg>
        <pc:spChg chg="mod">
          <ac:chgData name="Gasteiger, Cassidy M" userId="49e4247d-81de-4625-ae16-f189e0b7e529" providerId="ADAL" clId="{EFB976C6-EC52-4602-90C8-86B8954E5255}" dt="2023-03-29T01:16:32.898" v="8177" actId="208"/>
          <ac:spMkLst>
            <pc:docMk/>
            <pc:sldMk cId="1119427310" sldId="2141411847"/>
            <ac:spMk id="201" creationId="{9EB79E8B-DA14-454B-A625-236FE61E94D9}"/>
          </ac:spMkLst>
        </pc:spChg>
        <pc:spChg chg="mod">
          <ac:chgData name="Gasteiger, Cassidy M" userId="49e4247d-81de-4625-ae16-f189e0b7e529" providerId="ADAL" clId="{EFB976C6-EC52-4602-90C8-86B8954E5255}" dt="2023-03-29T01:13:30.207" v="8110" actId="20577"/>
          <ac:spMkLst>
            <pc:docMk/>
            <pc:sldMk cId="1119427310" sldId="2141411847"/>
            <ac:spMk id="202" creationId="{29E7D975-A05E-4E45-8CC9-2C5BFB738824}"/>
          </ac:spMkLst>
        </pc:spChg>
        <pc:spChg chg="mod">
          <ac:chgData name="Gasteiger, Cassidy M" userId="49e4247d-81de-4625-ae16-f189e0b7e529" providerId="ADAL" clId="{EFB976C6-EC52-4602-90C8-86B8954E5255}" dt="2023-03-29T01:16:23.816" v="8175" actId="208"/>
          <ac:spMkLst>
            <pc:docMk/>
            <pc:sldMk cId="1119427310" sldId="2141411847"/>
            <ac:spMk id="203" creationId="{50D088C0-83B7-45F4-BE2B-AFCE01F46BB6}"/>
          </ac:spMkLst>
        </pc:spChg>
        <pc:spChg chg="mod">
          <ac:chgData name="Gasteiger, Cassidy M" userId="49e4247d-81de-4625-ae16-f189e0b7e529" providerId="ADAL" clId="{EFB976C6-EC52-4602-90C8-86B8954E5255}" dt="2023-03-29T01:17:02.898" v="8180" actId="208"/>
          <ac:spMkLst>
            <pc:docMk/>
            <pc:sldMk cId="1119427310" sldId="2141411847"/>
            <ac:spMk id="205" creationId="{664A186B-63C7-4771-B1D5-0E72F24F15BB}"/>
          </ac:spMkLst>
        </pc:spChg>
        <pc:spChg chg="mod">
          <ac:chgData name="Gasteiger, Cassidy M" userId="49e4247d-81de-4625-ae16-f189e0b7e529" providerId="ADAL" clId="{EFB976C6-EC52-4602-90C8-86B8954E5255}" dt="2023-03-29T01:53:16.937" v="8464" actId="20577"/>
          <ac:spMkLst>
            <pc:docMk/>
            <pc:sldMk cId="1119427310" sldId="2141411847"/>
            <ac:spMk id="206" creationId="{7D4B1AED-B2F5-49A7-8042-22727CA06D3E}"/>
          </ac:spMkLst>
        </pc:spChg>
        <pc:spChg chg="mod">
          <ac:chgData name="Gasteiger, Cassidy M" userId="49e4247d-81de-4625-ae16-f189e0b7e529" providerId="ADAL" clId="{EFB976C6-EC52-4602-90C8-86B8954E5255}" dt="2023-03-29T01:16:28.161" v="8176" actId="208"/>
          <ac:spMkLst>
            <pc:docMk/>
            <pc:sldMk cId="1119427310" sldId="2141411847"/>
            <ac:spMk id="207" creationId="{8DD23C58-0625-4F9C-8B3F-D0E16F29823A}"/>
          </ac:spMkLst>
        </pc:spChg>
        <pc:spChg chg="mod">
          <ac:chgData name="Gasteiger, Cassidy M" userId="49e4247d-81de-4625-ae16-f189e0b7e529" providerId="ADAL" clId="{EFB976C6-EC52-4602-90C8-86B8954E5255}" dt="2023-03-29T01:16:50.298" v="8178" actId="208"/>
          <ac:spMkLst>
            <pc:docMk/>
            <pc:sldMk cId="1119427310" sldId="2141411847"/>
            <ac:spMk id="209" creationId="{A51459D5-3238-4C2C-A918-CF504E1B36BB}"/>
          </ac:spMkLst>
        </pc:spChg>
        <pc:spChg chg="mod">
          <ac:chgData name="Gasteiger, Cassidy M" userId="49e4247d-81de-4625-ae16-f189e0b7e529" providerId="ADAL" clId="{EFB976C6-EC52-4602-90C8-86B8954E5255}" dt="2023-03-29T01:16:55.456" v="8179" actId="208"/>
          <ac:spMkLst>
            <pc:docMk/>
            <pc:sldMk cId="1119427310" sldId="2141411847"/>
            <ac:spMk id="210" creationId="{531651B3-8A5D-42AE-89EC-0A65B6B36FDE}"/>
          </ac:spMkLst>
        </pc:spChg>
        <pc:spChg chg="del">
          <ac:chgData name="Gasteiger, Cassidy M" userId="49e4247d-81de-4625-ae16-f189e0b7e529" providerId="ADAL" clId="{EFB976C6-EC52-4602-90C8-86B8954E5255}" dt="2023-03-29T01:13:36.726" v="8112" actId="478"/>
          <ac:spMkLst>
            <pc:docMk/>
            <pc:sldMk cId="1119427310" sldId="2141411847"/>
            <ac:spMk id="257" creationId="{5DDF44BC-53AB-4E26-B1A7-E349114165E6}"/>
          </ac:spMkLst>
        </pc:spChg>
        <pc:spChg chg="mod">
          <ac:chgData name="Gasteiger, Cassidy M" userId="49e4247d-81de-4625-ae16-f189e0b7e529" providerId="ADAL" clId="{EFB976C6-EC52-4602-90C8-86B8954E5255}" dt="2023-03-29T01:53:14.807" v="8463" actId="20577"/>
          <ac:spMkLst>
            <pc:docMk/>
            <pc:sldMk cId="1119427310" sldId="2141411847"/>
            <ac:spMk id="263" creationId="{B62C71DA-ED35-490D-81DD-E08168DD4484}"/>
          </ac:spMkLst>
        </pc:spChg>
        <pc:grpChg chg="add mod">
          <ac:chgData name="Gasteiger, Cassidy M" userId="49e4247d-81de-4625-ae16-f189e0b7e529" providerId="ADAL" clId="{EFB976C6-EC52-4602-90C8-86B8954E5255}" dt="2023-03-29T01:15:51.066" v="8170" actId="14100"/>
          <ac:grpSpMkLst>
            <pc:docMk/>
            <pc:sldMk cId="1119427310" sldId="2141411847"/>
            <ac:grpSpMk id="6" creationId="{433C5DD8-A0B1-75FF-9B30-48CA31629D2E}"/>
          </ac:grpSpMkLst>
        </pc:grpChg>
        <pc:graphicFrameChg chg="mod">
          <ac:chgData name="Gasteiger, Cassidy M" userId="49e4247d-81de-4625-ae16-f189e0b7e529" providerId="ADAL" clId="{EFB976C6-EC52-4602-90C8-86B8954E5255}" dt="2023-03-29T01:16:11.637" v="8174" actId="255"/>
          <ac:graphicFrameMkLst>
            <pc:docMk/>
            <pc:sldMk cId="1119427310" sldId="2141411847"/>
            <ac:graphicFrameMk id="7" creationId="{2A37345D-9E0E-3A62-272C-A6656897663B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29T01:13:34.376" v="8111" actId="478"/>
          <ac:graphicFrameMkLst>
            <pc:docMk/>
            <pc:sldMk cId="1119427310" sldId="2141411847"/>
            <ac:graphicFrameMk id="256" creationId="{E5710A92-AC13-4A4C-B9F9-6E3C55471858}"/>
          </ac:graphicFrameMkLst>
        </pc:graphicFrameChg>
        <pc:graphicFrameChg chg="mod modGraphic">
          <ac:chgData name="Gasteiger, Cassidy M" userId="49e4247d-81de-4625-ae16-f189e0b7e529" providerId="ADAL" clId="{EFB976C6-EC52-4602-90C8-86B8954E5255}" dt="2023-03-29T01:52:48.887" v="8434" actId="572"/>
          <ac:graphicFrameMkLst>
            <pc:docMk/>
            <pc:sldMk cId="1119427310" sldId="2141411847"/>
            <ac:graphicFrameMk id="259" creationId="{2FADA289-8F35-4FBF-B648-36375646E20F}"/>
          </ac:graphicFrameMkLst>
        </pc:graphicFrameChg>
        <pc:graphicFrameChg chg="mod">
          <ac:chgData name="Gasteiger, Cassidy M" userId="49e4247d-81de-4625-ae16-f189e0b7e529" providerId="ADAL" clId="{EFB976C6-EC52-4602-90C8-86B8954E5255}" dt="2023-03-29T05:32:32.660" v="10861" actId="255"/>
          <ac:graphicFrameMkLst>
            <pc:docMk/>
            <pc:sldMk cId="1119427310" sldId="2141411847"/>
            <ac:graphicFrameMk id="260" creationId="{410AE525-271B-40BE-A1D1-2B07F398876A}"/>
          </ac:graphicFrameMkLst>
        </pc:graphicFrameChg>
        <pc:graphicFrameChg chg="mod modGraphic">
          <ac:chgData name="Gasteiger, Cassidy M" userId="49e4247d-81de-4625-ae16-f189e0b7e529" providerId="ADAL" clId="{EFB976C6-EC52-4602-90C8-86B8954E5255}" dt="2023-03-29T05:33:09.174" v="10876" actId="20577"/>
          <ac:graphicFrameMkLst>
            <pc:docMk/>
            <pc:sldMk cId="1119427310" sldId="2141411847"/>
            <ac:graphicFrameMk id="261" creationId="{77D2B91B-CCA6-4025-8C1E-1D40DE0778A6}"/>
          </ac:graphicFrameMkLst>
        </pc:graphicFrameChg>
        <pc:graphicFrameChg chg="mod">
          <ac:chgData name="Gasteiger, Cassidy M" userId="49e4247d-81de-4625-ae16-f189e0b7e529" providerId="ADAL" clId="{EFB976C6-EC52-4602-90C8-86B8954E5255}" dt="2023-03-29T05:33:55.800" v="10881" actId="2085"/>
          <ac:graphicFrameMkLst>
            <pc:docMk/>
            <pc:sldMk cId="1119427310" sldId="2141411847"/>
            <ac:graphicFrameMk id="262" creationId="{20CA5EE9-04B9-49A5-B3DE-FEE66CC168B3}"/>
          </ac:graphicFrameMkLst>
        </pc:graphicFrameChg>
        <pc:picChg chg="add mod">
          <ac:chgData name="Gasteiger, Cassidy M" userId="49e4247d-81de-4625-ae16-f189e0b7e529" providerId="ADAL" clId="{EFB976C6-EC52-4602-90C8-86B8954E5255}" dt="2023-03-29T01:13:17.157" v="8094" actId="1076"/>
          <ac:picMkLst>
            <pc:docMk/>
            <pc:sldMk cId="1119427310" sldId="2141411847"/>
            <ac:picMk id="2" creationId="{62769BA0-9C5E-731B-9B32-CB2BFE8C31F8}"/>
          </ac:picMkLst>
        </pc:picChg>
        <pc:picChg chg="del">
          <ac:chgData name="Gasteiger, Cassidy M" userId="49e4247d-81de-4625-ae16-f189e0b7e529" providerId="ADAL" clId="{EFB976C6-EC52-4602-90C8-86B8954E5255}" dt="2023-03-29T01:13:38.037" v="8113" actId="478"/>
          <ac:picMkLst>
            <pc:docMk/>
            <pc:sldMk cId="1119427310" sldId="2141411847"/>
            <ac:picMk id="258" creationId="{8A85A586-D9D0-4C2E-88CD-932D94314286}"/>
          </ac:picMkLst>
        </pc:picChg>
      </pc:sldChg>
      <pc:sldChg chg="add del">
        <pc:chgData name="Gasteiger, Cassidy M" userId="49e4247d-81de-4625-ae16-f189e0b7e529" providerId="ADAL" clId="{EFB976C6-EC52-4602-90C8-86B8954E5255}" dt="2023-03-28T20:45:58.090" v="7740" actId="2696"/>
        <pc:sldMkLst>
          <pc:docMk/>
          <pc:sldMk cId="1244625483" sldId="2141411847"/>
        </pc:sldMkLst>
      </pc:sldChg>
      <pc:sldChg chg="addSp delSp modSp add mod ord">
        <pc:chgData name="Gasteiger, Cassidy M" userId="49e4247d-81de-4625-ae16-f189e0b7e529" providerId="ADAL" clId="{EFB976C6-EC52-4602-90C8-86B8954E5255}" dt="2023-03-30T20:28:25.778" v="29839" actId="20577"/>
        <pc:sldMkLst>
          <pc:docMk/>
          <pc:sldMk cId="871451821" sldId="2141411848"/>
        </pc:sldMkLst>
        <pc:spChg chg="add del mod">
          <ac:chgData name="Gasteiger, Cassidy M" userId="49e4247d-81de-4625-ae16-f189e0b7e529" providerId="ADAL" clId="{EFB976C6-EC52-4602-90C8-86B8954E5255}" dt="2023-03-30T20:28:13.467" v="29836" actId="478"/>
          <ac:spMkLst>
            <pc:docMk/>
            <pc:sldMk cId="871451821" sldId="2141411848"/>
            <ac:spMk id="2" creationId="{9B254937-153F-76F2-2653-E9C4F1F9CA4D}"/>
          </ac:spMkLst>
        </pc:spChg>
        <pc:spChg chg="add del mod">
          <ac:chgData name="Gasteiger, Cassidy M" userId="49e4247d-81de-4625-ae16-f189e0b7e529" providerId="ADAL" clId="{EFB976C6-EC52-4602-90C8-86B8954E5255}" dt="2023-03-30T20:28:14.737" v="29837" actId="478"/>
          <ac:spMkLst>
            <pc:docMk/>
            <pc:sldMk cId="871451821" sldId="2141411848"/>
            <ac:spMk id="3" creationId="{6E391CAF-9ECA-D4B1-9E61-92962BA777D8}"/>
          </ac:spMkLst>
        </pc:spChg>
        <pc:spChg chg="add del mod">
          <ac:chgData name="Gasteiger, Cassidy M" userId="49e4247d-81de-4625-ae16-f189e0b7e529" providerId="ADAL" clId="{EFB976C6-EC52-4602-90C8-86B8954E5255}" dt="2023-03-29T02:16:33.427" v="8750" actId="478"/>
          <ac:spMkLst>
            <pc:docMk/>
            <pc:sldMk cId="871451821" sldId="2141411848"/>
            <ac:spMk id="3" creationId="{C14956EB-036E-1730-FEDB-EBEF7EB8965F}"/>
          </ac:spMkLst>
        </pc:spChg>
        <pc:spChg chg="add del mod">
          <ac:chgData name="Gasteiger, Cassidy M" userId="49e4247d-81de-4625-ae16-f189e0b7e529" providerId="ADAL" clId="{EFB976C6-EC52-4602-90C8-86B8954E5255}" dt="2023-03-29T02:16:33.427" v="8750" actId="478"/>
          <ac:spMkLst>
            <pc:docMk/>
            <pc:sldMk cId="871451821" sldId="2141411848"/>
            <ac:spMk id="4" creationId="{D276F014-A178-E845-FB70-BF3E52912D7E}"/>
          </ac:spMkLst>
        </pc:spChg>
        <pc:spChg chg="add del mod">
          <ac:chgData name="Gasteiger, Cassidy M" userId="49e4247d-81de-4625-ae16-f189e0b7e529" providerId="ADAL" clId="{EFB976C6-EC52-4602-90C8-86B8954E5255}" dt="2023-03-29T02:16:33.427" v="8750" actId="478"/>
          <ac:spMkLst>
            <pc:docMk/>
            <pc:sldMk cId="871451821" sldId="2141411848"/>
            <ac:spMk id="5" creationId="{4A4DDDAE-1770-AD4B-1558-F1A4D8BAC3E7}"/>
          </ac:spMkLst>
        </pc:spChg>
        <pc:spChg chg="add del mod">
          <ac:chgData name="Gasteiger, Cassidy M" userId="49e4247d-81de-4625-ae16-f189e0b7e529" providerId="ADAL" clId="{EFB976C6-EC52-4602-90C8-86B8954E5255}" dt="2023-03-29T02:16:33.427" v="8750" actId="478"/>
          <ac:spMkLst>
            <pc:docMk/>
            <pc:sldMk cId="871451821" sldId="2141411848"/>
            <ac:spMk id="7" creationId="{D127C8EA-88A9-1043-D1F0-D28B63A1DE62}"/>
          </ac:spMkLst>
        </pc:spChg>
        <pc:spChg chg="del">
          <ac:chgData name="Gasteiger, Cassidy M" userId="49e4247d-81de-4625-ae16-f189e0b7e529" providerId="ADAL" clId="{EFB976C6-EC52-4602-90C8-86B8954E5255}" dt="2023-03-30T15:24:13.677" v="23067" actId="478"/>
          <ac:spMkLst>
            <pc:docMk/>
            <pc:sldMk cId="871451821" sldId="2141411848"/>
            <ac:spMk id="10" creationId="{6FA00477-F69A-C8F9-549F-F835544D3C42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3" creationId="{9B8BD93D-0A18-4491-2041-6C1D8AAE7C1D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5" creationId="{23FFACCB-F87D-7F1A-ECA0-BFE45F850589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6" creationId="{3F0E9A77-8CC1-C603-1D86-E98CB5C83973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7" creationId="{2C04794C-A63B-975F-E94F-6A65D7C50DE0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9" creationId="{9ED6ADD9-8652-AA49-50A5-CB94D3D914A1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31" creationId="{ED738682-8B52-B5FA-0484-954615925AAB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37" creationId="{7F0EAD3F-288A-8EBB-06A2-EB5FCF2493D4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38" creationId="{D435ED74-60D2-718D-A427-9D4D32C0BEDF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39" creationId="{7F8EDB5C-F0DC-0209-701A-FA4176F32505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40" creationId="{2C2914F7-8932-1FC8-A35C-087DE9FBF71D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41" creationId="{BC307D5D-885A-F9DA-A7A0-9B262668758C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42" creationId="{486E5DED-153F-2808-F71B-14A51648D4CD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43" creationId="{5490DFC1-6E32-7977-9193-42CA7332E2F0}"/>
          </ac:spMkLst>
        </pc:spChg>
        <pc:spChg chg="add del mod">
          <ac:chgData name="Gasteiger, Cassidy M" userId="49e4247d-81de-4625-ae16-f189e0b7e529" providerId="ADAL" clId="{EFB976C6-EC52-4602-90C8-86B8954E5255}" dt="2023-03-29T02:16:33.427" v="8750" actId="478"/>
          <ac:spMkLst>
            <pc:docMk/>
            <pc:sldMk cId="871451821" sldId="2141411848"/>
            <ac:spMk id="44" creationId="{DB20EEFA-7299-B179-DCC3-DE0B282CC060}"/>
          </ac:spMkLst>
        </pc:spChg>
        <pc:spChg chg="add del mod">
          <ac:chgData name="Gasteiger, Cassidy M" userId="49e4247d-81de-4625-ae16-f189e0b7e529" providerId="ADAL" clId="{EFB976C6-EC52-4602-90C8-86B8954E5255}" dt="2023-03-29T02:16:33.427" v="8750" actId="478"/>
          <ac:spMkLst>
            <pc:docMk/>
            <pc:sldMk cId="871451821" sldId="2141411848"/>
            <ac:spMk id="45" creationId="{ADBAF982-2B36-D656-63AF-BFC30EA56706}"/>
          </ac:spMkLst>
        </pc:spChg>
        <pc:spChg chg="add del mod">
          <ac:chgData name="Gasteiger, Cassidy M" userId="49e4247d-81de-4625-ae16-f189e0b7e529" providerId="ADAL" clId="{EFB976C6-EC52-4602-90C8-86B8954E5255}" dt="2023-03-29T02:16:33.427" v="8750" actId="478"/>
          <ac:spMkLst>
            <pc:docMk/>
            <pc:sldMk cId="871451821" sldId="2141411848"/>
            <ac:spMk id="46" creationId="{95E0234A-99CA-CB15-E8C1-4F233D328BF6}"/>
          </ac:spMkLst>
        </pc:spChg>
        <pc:spChg chg="add del mod">
          <ac:chgData name="Gasteiger, Cassidy M" userId="49e4247d-81de-4625-ae16-f189e0b7e529" providerId="ADAL" clId="{EFB976C6-EC52-4602-90C8-86B8954E5255}" dt="2023-03-29T02:16:33.427" v="8750" actId="478"/>
          <ac:spMkLst>
            <pc:docMk/>
            <pc:sldMk cId="871451821" sldId="2141411848"/>
            <ac:spMk id="47" creationId="{E77DC009-EBEA-D71A-DE6C-924A33CA5CED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49" creationId="{7DE2A3A5-7777-0C10-A51B-A5853DFA2505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50" creationId="{3A502D24-7ED4-FC57-9C6C-1C8AE5FFF99E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51" creationId="{BCD1B358-F4FC-514C-7328-D648D08F5279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52" creationId="{152C9BA0-75B7-6AE1-2653-DB6B6108B3DA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53" creationId="{B8D5D648-8B50-2E7D-468A-7FE47E6E11DB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54" creationId="{F26EB6BE-A44F-1856-C9FD-41BF84115E26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55" creationId="{2DB618EF-1A74-32E1-1A68-B21B1C5B0A20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56" creationId="{22B7ABDA-36FB-F4B4-B487-14516888AC40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58" creationId="{148B7AB6-7663-4846-F2BB-58BB4E5A9DFD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59" creationId="{2957AAAE-7B22-893D-15D4-6F2E33E2673E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60" creationId="{62B618B8-5583-1B30-9DDE-7975E4589278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61" creationId="{252AAC35-AB24-EBFA-EC56-E25B7C183567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63" creationId="{4BAACB6A-4603-E5FB-B727-5E1B0CE26EC5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192" creationId="{D20632C6-6837-922D-D584-624FED941610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193" creationId="{2EFE9A1F-123A-2448-DCB6-962123E39CE4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194" creationId="{73B5FF0A-4D96-2094-4836-D40CF966A531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195" creationId="{947BA4EE-8C8F-891B-3A49-74787A999BB2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196" creationId="{B3C02E78-4E98-0136-6877-E77B00889924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197" creationId="{024A9EFA-A070-3304-7C25-1A1808751E34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198" creationId="{3AE48817-0C96-C95A-0C64-5A7BC7CC0E08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199" creationId="{1527440D-3EC7-A0D9-88AA-B52EC462F37D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01" creationId="{246FD700-1C7E-882C-6C7F-6802F03D5A9A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02" creationId="{1E5FDC3A-3D38-4ECC-710A-D4C6078CFDCE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03" creationId="{FEBEE755-C4B2-787F-504C-3158C42E2E14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04" creationId="{66A68D0E-C030-C3E7-2C25-1083AF763D42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06" creationId="{DB586BAB-65B9-539F-AC41-CA4A2209828F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07" creationId="{59136AB1-83CD-2411-ABC5-02CB70E53857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08" creationId="{53D67766-6AEA-9263-F08B-4D568A8052FE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09" creationId="{FC623422-C955-7BCC-187E-39EB45593494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10" creationId="{DA97C259-F82B-B14F-BB5D-436B46A87948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11" creationId="{8A55A5C7-E8D0-B643-5761-15D6DA327D9D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12" creationId="{DCFAC7F7-8217-A68A-B949-76BE60E9C2C2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13" creationId="{499B8B41-CC87-A724-9969-FBE20F1B30C7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14" creationId="{317AA8BC-8B12-D8A9-7A18-F6FBC895728F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15" creationId="{5E670F0C-6D11-0B6D-581F-FC2362304DDE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16" creationId="{F13CC9E5-D93C-91D2-B284-F25E43616908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17" creationId="{40940A2F-E062-4F61-E640-00437FAFBEE2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18" creationId="{FF21EC3D-6429-888F-2FF2-5848BA3196BC}"/>
          </ac:spMkLst>
        </pc:spChg>
        <pc:spChg chg="mod">
          <ac:chgData name="Gasteiger, Cassidy M" userId="49e4247d-81de-4625-ae16-f189e0b7e529" providerId="ADAL" clId="{EFB976C6-EC52-4602-90C8-86B8954E5255}" dt="2023-03-29T02:16:16.148" v="8746"/>
          <ac:spMkLst>
            <pc:docMk/>
            <pc:sldMk cId="871451821" sldId="2141411848"/>
            <ac:spMk id="219" creationId="{37F18ABD-6085-E25C-4FCB-8991207A0297}"/>
          </ac:spMkLst>
        </pc:spChg>
        <pc:spChg chg="add mod topLvl">
          <ac:chgData name="Gasteiger, Cassidy M" userId="49e4247d-81de-4625-ae16-f189e0b7e529" providerId="ADAL" clId="{EFB976C6-EC52-4602-90C8-86B8954E5255}" dt="2023-03-30T16:08:44.840" v="24456" actId="20577"/>
          <ac:spMkLst>
            <pc:docMk/>
            <pc:sldMk cId="871451821" sldId="2141411848"/>
            <ac:spMk id="220" creationId="{9D940B38-0E96-951C-D104-96A617366462}"/>
          </ac:spMkLst>
        </pc:spChg>
        <pc:spChg chg="add mod topLvl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21" creationId="{F8A6F38C-79E1-A761-E571-1B12B100C396}"/>
          </ac:spMkLst>
        </pc:spChg>
        <pc:spChg chg="add mod topLvl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22" creationId="{FBD73FE7-340A-70E9-E1F6-84863126F351}"/>
          </ac:spMkLst>
        </pc:spChg>
        <pc:spChg chg="add del mod topLvl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23" creationId="{B5612829-6C2A-A2BE-CB27-832DD451E4B2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25" creationId="{D7DA4D05-4ED4-1A46-96C7-5D8DCF1F802E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26" creationId="{94B389B9-ECE4-9DDD-12FB-1A130E128964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27" creationId="{3A098D3E-A862-A497-1F85-153731A5A820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28" creationId="{F24DFE39-94AD-E4C1-DE7D-9B94A7464F6D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29" creationId="{94BDCF83-8BF6-CBC8-60E8-D990F2F3100D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30" creationId="{69E2B762-31E3-63B6-F137-D7F7B1565B86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31" creationId="{0E19C3C6-D844-09C8-1B13-F64D8BF3BFC8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32" creationId="{D6380E6D-12CE-EE9C-5338-1239B135A302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33" creationId="{5B4E9077-FC9D-866C-6BDC-79EDE5B8DC69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34" creationId="{6997AC6C-AA40-3A28-F1A7-182C282B81D2}"/>
          </ac:spMkLst>
        </pc:spChg>
        <pc:spChg chg="mod">
          <ac:chgData name="Gasteiger, Cassidy M" userId="49e4247d-81de-4625-ae16-f189e0b7e529" providerId="ADAL" clId="{EFB976C6-EC52-4602-90C8-86B8954E5255}" dt="2023-03-29T02:14:31.002" v="8741" actId="20577"/>
          <ac:spMkLst>
            <pc:docMk/>
            <pc:sldMk cId="871451821" sldId="2141411848"/>
            <ac:spMk id="235" creationId="{00000000-0000-0000-0000-000000000000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36" creationId="{FF4F39E4-BCA7-1637-DA47-292B23B67289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37" creationId="{9B824116-F228-DC53-3C54-F697F7414FB7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38" creationId="{041DB52F-2B31-F4A2-A5EF-562E7D6D905A}"/>
          </ac:spMkLst>
        </pc:spChg>
        <pc:spChg chg="add mod topLvl">
          <ac:chgData name="Gasteiger, Cassidy M" userId="49e4247d-81de-4625-ae16-f189e0b7e529" providerId="ADAL" clId="{EFB976C6-EC52-4602-90C8-86B8954E5255}" dt="2023-03-29T02:24:26.557" v="9670" actId="948"/>
          <ac:spMkLst>
            <pc:docMk/>
            <pc:sldMk cId="871451821" sldId="2141411848"/>
            <ac:spMk id="239" creationId="{B8A182F6-E716-3CDA-A197-765AFA220D08}"/>
          </ac:spMkLst>
        </pc:spChg>
        <pc:spChg chg="add mod topLvl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40" creationId="{9F875CD2-CA9D-518A-3597-1A8F24AC74BD}"/>
          </ac:spMkLst>
        </pc:spChg>
        <pc:spChg chg="add mod topLvl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41" creationId="{CB1C66A0-BFB6-6EEC-9D23-566589CB6FF5}"/>
          </ac:spMkLst>
        </pc:spChg>
        <pc:spChg chg="add mod topLvl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42" creationId="{9F30A4AC-D73D-2A63-7563-75160BA70298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44" creationId="{2FA1BC23-B4EE-E122-C986-15037A4694B5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45" creationId="{4427216F-E909-4402-75F1-35D2411A4606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46" creationId="{3B75DB4B-1A31-AFF1-7E36-C6DF5FF57C7B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47" creationId="{3B9160F7-69AA-1EC8-E429-892B39A686B2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48" creationId="{89075321-1552-D4DD-638E-AEE37E524781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49" creationId="{A5E94C12-1AF9-9337-7C7A-91D300C991D5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50" creationId="{FA986DAB-6766-FEDD-39DD-409CB5DAF619}"/>
          </ac:spMkLst>
        </pc:spChg>
        <pc:spChg chg="mod">
          <ac:chgData name="Gasteiger, Cassidy M" userId="49e4247d-81de-4625-ae16-f189e0b7e529" providerId="ADAL" clId="{EFB976C6-EC52-4602-90C8-86B8954E5255}" dt="2023-03-29T02:23:11.717" v="9650" actId="165"/>
          <ac:spMkLst>
            <pc:docMk/>
            <pc:sldMk cId="871451821" sldId="2141411848"/>
            <ac:spMk id="251" creationId="{A1E63AFD-AB08-5DDD-91DB-4B121823E828}"/>
          </ac:spMkLst>
        </pc:spChg>
        <pc:spChg chg="mod topLvl">
          <ac:chgData name="Gasteiger, Cassidy M" userId="49e4247d-81de-4625-ae16-f189e0b7e529" providerId="ADAL" clId="{EFB976C6-EC52-4602-90C8-86B8954E5255}" dt="2023-03-29T02:24:33.065" v="9671" actId="948"/>
          <ac:spMkLst>
            <pc:docMk/>
            <pc:sldMk cId="871451821" sldId="2141411848"/>
            <ac:spMk id="253" creationId="{6C5629A4-6CC9-D77F-BD2E-EA33F6B08FC3}"/>
          </ac:spMkLst>
        </pc:spChg>
        <pc:spChg chg="mod topLvl">
          <ac:chgData name="Gasteiger, Cassidy M" userId="49e4247d-81de-4625-ae16-f189e0b7e529" providerId="ADAL" clId="{EFB976C6-EC52-4602-90C8-86B8954E5255}" dt="2023-03-29T02:23:57.597" v="9664" actId="165"/>
          <ac:spMkLst>
            <pc:docMk/>
            <pc:sldMk cId="871451821" sldId="2141411848"/>
            <ac:spMk id="254" creationId="{9EDEA1D7-2A53-8AFE-EB12-B0A743124A7E}"/>
          </ac:spMkLst>
        </pc:spChg>
        <pc:spChg chg="mod topLvl">
          <ac:chgData name="Gasteiger, Cassidy M" userId="49e4247d-81de-4625-ae16-f189e0b7e529" providerId="ADAL" clId="{EFB976C6-EC52-4602-90C8-86B8954E5255}" dt="2023-03-29T02:23:57.597" v="9664" actId="165"/>
          <ac:spMkLst>
            <pc:docMk/>
            <pc:sldMk cId="871451821" sldId="2141411848"/>
            <ac:spMk id="255" creationId="{918A2209-A5BA-6C7B-F57D-1D619169ED6F}"/>
          </ac:spMkLst>
        </pc:spChg>
        <pc:spChg chg="add del mod topLvl">
          <ac:chgData name="Gasteiger, Cassidy M" userId="49e4247d-81de-4625-ae16-f189e0b7e529" providerId="ADAL" clId="{EFB976C6-EC52-4602-90C8-86B8954E5255}" dt="2023-03-29T02:23:57.597" v="9664" actId="165"/>
          <ac:spMkLst>
            <pc:docMk/>
            <pc:sldMk cId="871451821" sldId="2141411848"/>
            <ac:spMk id="256" creationId="{93170D55-4273-0EE3-03A7-1BD71C093C49}"/>
          </ac:spMkLst>
        </pc:spChg>
        <pc:spChg chg="del mod">
          <ac:chgData name="Gasteiger, Cassidy M" userId="49e4247d-81de-4625-ae16-f189e0b7e529" providerId="ADAL" clId="{EFB976C6-EC52-4602-90C8-86B8954E5255}" dt="2023-03-29T02:23:19.503" v="9653" actId="478"/>
          <ac:spMkLst>
            <pc:docMk/>
            <pc:sldMk cId="871451821" sldId="2141411848"/>
            <ac:spMk id="258" creationId="{302CEEE8-C75B-0AA3-AA21-EE1377DAD558}"/>
          </ac:spMkLst>
        </pc:spChg>
        <pc:spChg chg="del mod">
          <ac:chgData name="Gasteiger, Cassidy M" userId="49e4247d-81de-4625-ae16-f189e0b7e529" providerId="ADAL" clId="{EFB976C6-EC52-4602-90C8-86B8954E5255}" dt="2023-03-29T02:23:21.389" v="9654" actId="478"/>
          <ac:spMkLst>
            <pc:docMk/>
            <pc:sldMk cId="871451821" sldId="2141411848"/>
            <ac:spMk id="259" creationId="{6F9B2B0F-9F8C-6921-C549-B281085CC52B}"/>
          </ac:spMkLst>
        </pc:spChg>
        <pc:spChg chg="mod">
          <ac:chgData name="Gasteiger, Cassidy M" userId="49e4247d-81de-4625-ae16-f189e0b7e529" providerId="ADAL" clId="{EFB976C6-EC52-4602-90C8-86B8954E5255}" dt="2023-03-29T02:23:57.597" v="9664" actId="165"/>
          <ac:spMkLst>
            <pc:docMk/>
            <pc:sldMk cId="871451821" sldId="2141411848"/>
            <ac:spMk id="260" creationId="{0542AB19-4704-E3CC-7337-B77A55270472}"/>
          </ac:spMkLst>
        </pc:spChg>
        <pc:spChg chg="mod">
          <ac:chgData name="Gasteiger, Cassidy M" userId="49e4247d-81de-4625-ae16-f189e0b7e529" providerId="ADAL" clId="{EFB976C6-EC52-4602-90C8-86B8954E5255}" dt="2023-03-29T02:23:57.597" v="9664" actId="165"/>
          <ac:spMkLst>
            <pc:docMk/>
            <pc:sldMk cId="871451821" sldId="2141411848"/>
            <ac:spMk id="261" creationId="{0AFBA118-B2D7-5539-5F45-96228F294D81}"/>
          </ac:spMkLst>
        </pc:spChg>
        <pc:spChg chg="mod">
          <ac:chgData name="Gasteiger, Cassidy M" userId="49e4247d-81de-4625-ae16-f189e0b7e529" providerId="ADAL" clId="{EFB976C6-EC52-4602-90C8-86B8954E5255}" dt="2023-03-29T02:23:57.597" v="9664" actId="165"/>
          <ac:spMkLst>
            <pc:docMk/>
            <pc:sldMk cId="871451821" sldId="2141411848"/>
            <ac:spMk id="262" creationId="{AFE2C9B6-04F6-87DE-D15B-82E21B6940F1}"/>
          </ac:spMkLst>
        </pc:spChg>
        <pc:spChg chg="del mod">
          <ac:chgData name="Gasteiger, Cassidy M" userId="49e4247d-81de-4625-ae16-f189e0b7e529" providerId="ADAL" clId="{EFB976C6-EC52-4602-90C8-86B8954E5255}" dt="2023-03-29T02:23:23.437" v="9655" actId="478"/>
          <ac:spMkLst>
            <pc:docMk/>
            <pc:sldMk cId="871451821" sldId="2141411848"/>
            <ac:spMk id="263" creationId="{C2360AF2-87F8-C070-29CD-67005F6AD13A}"/>
          </ac:spMkLst>
        </pc:spChg>
        <pc:spChg chg="del mod">
          <ac:chgData name="Gasteiger, Cassidy M" userId="49e4247d-81de-4625-ae16-f189e0b7e529" providerId="ADAL" clId="{EFB976C6-EC52-4602-90C8-86B8954E5255}" dt="2023-03-29T02:23:31.587" v="9658" actId="478"/>
          <ac:spMkLst>
            <pc:docMk/>
            <pc:sldMk cId="871451821" sldId="2141411848"/>
            <ac:spMk id="264" creationId="{EF9641AB-4EB2-0D82-C379-DE7548FC80E8}"/>
          </ac:spMkLst>
        </pc:spChg>
        <pc:spChg chg="mod">
          <ac:chgData name="Gasteiger, Cassidy M" userId="49e4247d-81de-4625-ae16-f189e0b7e529" providerId="ADAL" clId="{EFB976C6-EC52-4602-90C8-86B8954E5255}" dt="2023-03-29T02:23:57.597" v="9664" actId="165"/>
          <ac:spMkLst>
            <pc:docMk/>
            <pc:sldMk cId="871451821" sldId="2141411848"/>
            <ac:spMk id="265" creationId="{7DD96FED-6063-82EB-2BEA-4560784E83CF}"/>
          </ac:spMkLst>
        </pc:spChg>
        <pc:spChg chg="mod">
          <ac:chgData name="Gasteiger, Cassidy M" userId="49e4247d-81de-4625-ae16-f189e0b7e529" providerId="ADAL" clId="{EFB976C6-EC52-4602-90C8-86B8954E5255}" dt="2023-03-29T02:23:57.597" v="9664" actId="165"/>
          <ac:spMkLst>
            <pc:docMk/>
            <pc:sldMk cId="871451821" sldId="2141411848"/>
            <ac:spMk id="266" creationId="{2C13E6B3-1460-C154-79BB-D4E47E989660}"/>
          </ac:spMkLst>
        </pc:spChg>
        <pc:spChg chg="mod topLvl">
          <ac:chgData name="Gasteiger, Cassidy M" userId="49e4247d-81de-4625-ae16-f189e0b7e529" providerId="ADAL" clId="{EFB976C6-EC52-4602-90C8-86B8954E5255}" dt="2023-03-30T20:28:25.778" v="29839" actId="20577"/>
          <ac:spMkLst>
            <pc:docMk/>
            <pc:sldMk cId="871451821" sldId="2141411848"/>
            <ac:spMk id="268" creationId="{96E916E9-B0CE-3683-E703-BFDC2DC9E206}"/>
          </ac:spMkLst>
        </pc:spChg>
        <pc:spChg chg="mod topLvl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69" creationId="{36C1A7EC-35A4-6A36-4B2A-1F94BC57764F}"/>
          </ac:spMkLst>
        </pc:spChg>
        <pc:spChg chg="mod topLvl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70" creationId="{1B24100D-5D49-D6CE-EC9D-9496C6B564AD}"/>
          </ac:spMkLst>
        </pc:spChg>
        <pc:spChg chg="mod topLvl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71" creationId="{75FF6395-75F1-C307-9069-CF2F3B298697}"/>
          </ac:spMkLst>
        </pc:spChg>
        <pc:spChg chg="mod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73" creationId="{3BF9590F-5A17-DE5C-3B63-754B19580E77}"/>
          </ac:spMkLst>
        </pc:spChg>
        <pc:spChg chg="mod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74" creationId="{D768D927-BFD6-08A1-1467-1DB3D11A9C8F}"/>
          </ac:spMkLst>
        </pc:spChg>
        <pc:spChg chg="mod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75" creationId="{E5243414-A7C6-E626-E997-20A1FAA9608E}"/>
          </ac:spMkLst>
        </pc:spChg>
        <pc:spChg chg="mod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76" creationId="{9D0F64E6-6796-E235-EC1A-95F88CD30D32}"/>
          </ac:spMkLst>
        </pc:spChg>
        <pc:spChg chg="mod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77" creationId="{6F90E12A-177D-5493-6FB2-BA2C07C74F84}"/>
          </ac:spMkLst>
        </pc:spChg>
        <pc:spChg chg="mod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78" creationId="{9384C1E3-3C20-35B5-AAA5-61F219939D61}"/>
          </ac:spMkLst>
        </pc:spChg>
        <pc:spChg chg="mod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79" creationId="{BE1B5DDF-8162-F15C-9196-AD2C7DADA74F}"/>
          </ac:spMkLst>
        </pc:spChg>
        <pc:spChg chg="mod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80" creationId="{ED9F574F-0A45-B4EC-19D0-C51556F0826A}"/>
          </ac:spMkLst>
        </pc:spChg>
        <pc:spChg chg="mod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81" creationId="{FF6FAD4B-EB8C-6B75-51FA-FD0C30874CEB}"/>
          </ac:spMkLst>
        </pc:spChg>
        <pc:spChg chg="mod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82" creationId="{9D99BFC9-1E0D-953C-61DF-21EAEB9786A3}"/>
          </ac:spMkLst>
        </pc:spChg>
        <pc:spChg chg="del mod">
          <ac:chgData name="Gasteiger, Cassidy M" userId="49e4247d-81de-4625-ae16-f189e0b7e529" providerId="ADAL" clId="{EFB976C6-EC52-4602-90C8-86B8954E5255}" dt="2023-03-29T02:23:36.747" v="9659" actId="478"/>
          <ac:spMkLst>
            <pc:docMk/>
            <pc:sldMk cId="871451821" sldId="2141411848"/>
            <ac:spMk id="283" creationId="{5BEFCFAD-D78E-F59D-CC11-93EFC5705A9B}"/>
          </ac:spMkLst>
        </pc:spChg>
        <pc:spChg chg="mod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84" creationId="{34F03D1C-A48B-FB91-3414-3FA2CAF4642D}"/>
          </ac:spMkLst>
        </pc:spChg>
        <pc:spChg chg="mod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85" creationId="{3F1CE71D-66FC-4900-FF6C-3CEB634D26D8}"/>
          </ac:spMkLst>
        </pc:spChg>
        <pc:spChg chg="mod">
          <ac:chgData name="Gasteiger, Cassidy M" userId="49e4247d-81de-4625-ae16-f189e0b7e529" providerId="ADAL" clId="{EFB976C6-EC52-4602-90C8-86B8954E5255}" dt="2023-03-29T02:23:42.037" v="9660" actId="165"/>
          <ac:spMkLst>
            <pc:docMk/>
            <pc:sldMk cId="871451821" sldId="2141411848"/>
            <ac:spMk id="286" creationId="{69FCB99D-F351-2EFC-BBED-F7F8137811B6}"/>
          </ac:spMkLst>
        </pc:spChg>
        <pc:spChg chg="add mod">
          <ac:chgData name="Gasteiger, Cassidy M" userId="49e4247d-81de-4625-ae16-f189e0b7e529" providerId="ADAL" clId="{EFB976C6-EC52-4602-90C8-86B8954E5255}" dt="2023-03-29T02:46:50.898" v="10394" actId="1076"/>
          <ac:spMkLst>
            <pc:docMk/>
            <pc:sldMk cId="871451821" sldId="2141411848"/>
            <ac:spMk id="290" creationId="{F589B89B-69C3-70D2-4EAC-8203DEAFB6BB}"/>
          </ac:spMkLst>
        </pc:spChg>
        <pc:spChg chg="mod">
          <ac:chgData name="Gasteiger, Cassidy M" userId="49e4247d-81de-4625-ae16-f189e0b7e529" providerId="ADAL" clId="{EFB976C6-EC52-4602-90C8-86B8954E5255}" dt="2023-03-30T15:24:14.644" v="23068"/>
          <ac:spMkLst>
            <pc:docMk/>
            <pc:sldMk cId="871451821" sldId="2141411848"/>
            <ac:spMk id="296" creationId="{977FE0AC-5032-D656-DC19-F0F537E3E4FE}"/>
          </ac:spMkLst>
        </pc:spChg>
        <pc:spChg chg="mod">
          <ac:chgData name="Gasteiger, Cassidy M" userId="49e4247d-81de-4625-ae16-f189e0b7e529" providerId="ADAL" clId="{EFB976C6-EC52-4602-90C8-86B8954E5255}" dt="2023-03-30T15:24:14.644" v="23068"/>
          <ac:spMkLst>
            <pc:docMk/>
            <pc:sldMk cId="871451821" sldId="2141411848"/>
            <ac:spMk id="297" creationId="{AB9AB7E1-7803-4770-FC68-D5FAACD881D0}"/>
          </ac:spMkLst>
        </pc:spChg>
        <pc:grpChg chg="add del mod">
          <ac:chgData name="Gasteiger, Cassidy M" userId="49e4247d-81de-4625-ae16-f189e0b7e529" providerId="ADAL" clId="{EFB976C6-EC52-4602-90C8-86B8954E5255}" dt="2023-03-29T02:16:33.427" v="8750" actId="478"/>
          <ac:grpSpMkLst>
            <pc:docMk/>
            <pc:sldMk cId="871451821" sldId="2141411848"/>
            <ac:grpSpMk id="9" creationId="{04C36108-8966-F637-E9D9-DCD99C832162}"/>
          </ac:grpSpMkLst>
        </pc:grpChg>
        <pc:grpChg chg="del">
          <ac:chgData name="Gasteiger, Cassidy M" userId="49e4247d-81de-4625-ae16-f189e0b7e529" providerId="ADAL" clId="{EFB976C6-EC52-4602-90C8-86B8954E5255}" dt="2023-03-29T02:15:18.077" v="8745" actId="478"/>
          <ac:grpSpMkLst>
            <pc:docMk/>
            <pc:sldMk cId="871451821" sldId="2141411848"/>
            <ac:grpSpMk id="33" creationId="{B334BA38-E8D0-C752-6804-0B3299173AD9}"/>
          </ac:grpSpMkLst>
        </pc:grpChg>
        <pc:grpChg chg="del">
          <ac:chgData name="Gasteiger, Cassidy M" userId="49e4247d-81de-4625-ae16-f189e0b7e529" providerId="ADAL" clId="{EFB976C6-EC52-4602-90C8-86B8954E5255}" dt="2023-03-29T02:15:14.554" v="8743" actId="478"/>
          <ac:grpSpMkLst>
            <pc:docMk/>
            <pc:sldMk cId="871451821" sldId="2141411848"/>
            <ac:grpSpMk id="34" creationId="{42CBD2C5-CC24-9F29-9AC7-09554CC0AF2C}"/>
          </ac:grpSpMkLst>
        </pc:grpChg>
        <pc:grpChg chg="del">
          <ac:chgData name="Gasteiger, Cassidy M" userId="49e4247d-81de-4625-ae16-f189e0b7e529" providerId="ADAL" clId="{EFB976C6-EC52-4602-90C8-86B8954E5255}" dt="2023-03-29T02:15:15.637" v="8744" actId="478"/>
          <ac:grpSpMkLst>
            <pc:docMk/>
            <pc:sldMk cId="871451821" sldId="2141411848"/>
            <ac:grpSpMk id="35" creationId="{D7B32DAB-8793-48E2-705E-677D5592CF6F}"/>
          </ac:grpSpMkLst>
        </pc:grpChg>
        <pc:grpChg chg="del">
          <ac:chgData name="Gasteiger, Cassidy M" userId="49e4247d-81de-4625-ae16-f189e0b7e529" providerId="ADAL" clId="{EFB976C6-EC52-4602-90C8-86B8954E5255}" dt="2023-03-29T02:15:10.135" v="8742" actId="478"/>
          <ac:grpSpMkLst>
            <pc:docMk/>
            <pc:sldMk cId="871451821" sldId="2141411848"/>
            <ac:grpSpMk id="36" creationId="{3FE654FF-7A3E-2888-4791-F7AD0292FDF5}"/>
          </ac:grpSpMkLst>
        </pc:grpChg>
        <pc:grpChg chg="add del mod">
          <ac:chgData name="Gasteiger, Cassidy M" userId="49e4247d-81de-4625-ae16-f189e0b7e529" providerId="ADAL" clId="{EFB976C6-EC52-4602-90C8-86B8954E5255}" dt="2023-03-29T02:16:33.427" v="8750" actId="478"/>
          <ac:grpSpMkLst>
            <pc:docMk/>
            <pc:sldMk cId="871451821" sldId="2141411848"/>
            <ac:grpSpMk id="48" creationId="{9E657B0A-2D2A-36D6-EAB0-223DF20D3673}"/>
          </ac:grpSpMkLst>
        </pc:grpChg>
        <pc:grpChg chg="add del mod">
          <ac:chgData name="Gasteiger, Cassidy M" userId="49e4247d-81de-4625-ae16-f189e0b7e529" providerId="ADAL" clId="{EFB976C6-EC52-4602-90C8-86B8954E5255}" dt="2023-03-29T02:16:33.427" v="8750" actId="478"/>
          <ac:grpSpMkLst>
            <pc:docMk/>
            <pc:sldMk cId="871451821" sldId="2141411848"/>
            <ac:grpSpMk id="57" creationId="{382DE4B1-50DD-4A2F-9165-DFC56AA7894F}"/>
          </ac:grpSpMkLst>
        </pc:grpChg>
        <pc:grpChg chg="mod">
          <ac:chgData name="Gasteiger, Cassidy M" userId="49e4247d-81de-4625-ae16-f189e0b7e529" providerId="ADAL" clId="{EFB976C6-EC52-4602-90C8-86B8954E5255}" dt="2023-03-29T02:16:16.148" v="8746"/>
          <ac:grpSpMkLst>
            <pc:docMk/>
            <pc:sldMk cId="871451821" sldId="2141411848"/>
            <ac:grpSpMk id="62" creationId="{FA297930-54A2-33A6-17EC-DA8FFA4A24BB}"/>
          </ac:grpSpMkLst>
        </pc:grpChg>
        <pc:grpChg chg="add del mod">
          <ac:chgData name="Gasteiger, Cassidy M" userId="49e4247d-81de-4625-ae16-f189e0b7e529" providerId="ADAL" clId="{EFB976C6-EC52-4602-90C8-86B8954E5255}" dt="2023-03-29T02:16:33.427" v="8750" actId="478"/>
          <ac:grpSpMkLst>
            <pc:docMk/>
            <pc:sldMk cId="871451821" sldId="2141411848"/>
            <ac:grpSpMk id="200" creationId="{21840525-ECA3-FF94-D990-094B6E75471B}"/>
          </ac:grpSpMkLst>
        </pc:grpChg>
        <pc:grpChg chg="mod">
          <ac:chgData name="Gasteiger, Cassidy M" userId="49e4247d-81de-4625-ae16-f189e0b7e529" providerId="ADAL" clId="{EFB976C6-EC52-4602-90C8-86B8954E5255}" dt="2023-03-29T02:16:16.148" v="8746"/>
          <ac:grpSpMkLst>
            <pc:docMk/>
            <pc:sldMk cId="871451821" sldId="2141411848"/>
            <ac:grpSpMk id="205" creationId="{8D0B37DC-DE91-553D-EF29-CCA273CFB9F8}"/>
          </ac:grpSpMkLst>
        </pc:grpChg>
        <pc:grpChg chg="add del mod topLvl">
          <ac:chgData name="Gasteiger, Cassidy M" userId="49e4247d-81de-4625-ae16-f189e0b7e529" providerId="ADAL" clId="{EFB976C6-EC52-4602-90C8-86B8954E5255}" dt="2023-03-29T02:23:13.861" v="9651" actId="478"/>
          <ac:grpSpMkLst>
            <pc:docMk/>
            <pc:sldMk cId="871451821" sldId="2141411848"/>
            <ac:grpSpMk id="224" creationId="{03522A8A-0F6B-DF10-D62D-0A6F2328885B}"/>
          </ac:grpSpMkLst>
        </pc:grpChg>
        <pc:grpChg chg="add del mod topLvl">
          <ac:chgData name="Gasteiger, Cassidy M" userId="49e4247d-81de-4625-ae16-f189e0b7e529" providerId="ADAL" clId="{EFB976C6-EC52-4602-90C8-86B8954E5255}" dt="2023-03-29T02:23:15.419" v="9652" actId="478"/>
          <ac:grpSpMkLst>
            <pc:docMk/>
            <pc:sldMk cId="871451821" sldId="2141411848"/>
            <ac:grpSpMk id="243" creationId="{F80B5B5B-B314-7702-46B7-FD0DEF5F5F58}"/>
          </ac:grpSpMkLst>
        </pc:grpChg>
        <pc:grpChg chg="add del mod topLvl">
          <ac:chgData name="Gasteiger, Cassidy M" userId="49e4247d-81de-4625-ae16-f189e0b7e529" providerId="ADAL" clId="{EFB976C6-EC52-4602-90C8-86B8954E5255}" dt="2023-03-29T02:23:57.597" v="9664" actId="165"/>
          <ac:grpSpMkLst>
            <pc:docMk/>
            <pc:sldMk cId="871451821" sldId="2141411848"/>
            <ac:grpSpMk id="252" creationId="{1E322EEA-A005-C854-26F2-DD570580005D}"/>
          </ac:grpSpMkLst>
        </pc:grpChg>
        <pc:grpChg chg="del mod topLvl">
          <ac:chgData name="Gasteiger, Cassidy M" userId="49e4247d-81de-4625-ae16-f189e0b7e529" providerId="ADAL" clId="{EFB976C6-EC52-4602-90C8-86B8954E5255}" dt="2023-03-29T02:24:00.571" v="9665" actId="478"/>
          <ac:grpSpMkLst>
            <pc:docMk/>
            <pc:sldMk cId="871451821" sldId="2141411848"/>
            <ac:grpSpMk id="257" creationId="{292DA74A-65DE-8225-E6C5-AFCE3DFE7D4A}"/>
          </ac:grpSpMkLst>
        </pc:grpChg>
        <pc:grpChg chg="add del mod topLvl">
          <ac:chgData name="Gasteiger, Cassidy M" userId="49e4247d-81de-4625-ae16-f189e0b7e529" providerId="ADAL" clId="{EFB976C6-EC52-4602-90C8-86B8954E5255}" dt="2023-03-29T02:23:42.037" v="9660" actId="165"/>
          <ac:grpSpMkLst>
            <pc:docMk/>
            <pc:sldMk cId="871451821" sldId="2141411848"/>
            <ac:grpSpMk id="267" creationId="{699CEAAF-AB37-3A6B-572F-911C5491B782}"/>
          </ac:grpSpMkLst>
        </pc:grpChg>
        <pc:grpChg chg="del mod topLvl">
          <ac:chgData name="Gasteiger, Cassidy M" userId="49e4247d-81de-4625-ae16-f189e0b7e529" providerId="ADAL" clId="{EFB976C6-EC52-4602-90C8-86B8954E5255}" dt="2023-03-29T02:23:47.212" v="9661" actId="478"/>
          <ac:grpSpMkLst>
            <pc:docMk/>
            <pc:sldMk cId="871451821" sldId="2141411848"/>
            <ac:grpSpMk id="272" creationId="{1F002795-4269-CDB2-67CE-6C83B4F416AE}"/>
          </ac:grpSpMkLst>
        </pc:grpChg>
        <pc:grpChg chg="add del mod">
          <ac:chgData name="Gasteiger, Cassidy M" userId="49e4247d-81de-4625-ae16-f189e0b7e529" providerId="ADAL" clId="{EFB976C6-EC52-4602-90C8-86B8954E5255}" dt="2023-03-29T02:23:11.717" v="9650" actId="165"/>
          <ac:grpSpMkLst>
            <pc:docMk/>
            <pc:sldMk cId="871451821" sldId="2141411848"/>
            <ac:grpSpMk id="287" creationId="{468B2964-E2C3-7416-6F2F-468784A83638}"/>
          </ac:grpSpMkLst>
        </pc:grpChg>
        <pc:grpChg chg="add mod">
          <ac:chgData name="Gasteiger, Cassidy M" userId="49e4247d-81de-4625-ae16-f189e0b7e529" providerId="ADAL" clId="{EFB976C6-EC52-4602-90C8-86B8954E5255}" dt="2023-03-30T15:24:14.644" v="23068"/>
          <ac:grpSpMkLst>
            <pc:docMk/>
            <pc:sldMk cId="871451821" sldId="2141411848"/>
            <ac:grpSpMk id="295" creationId="{E624DFF1-6E60-0773-D053-865CCA410F5E}"/>
          </ac:grpSpMkLst>
        </pc:grpChg>
        <pc:picChg chg="del">
          <ac:chgData name="Gasteiger, Cassidy M" userId="49e4247d-81de-4625-ae16-f189e0b7e529" providerId="ADAL" clId="{EFB976C6-EC52-4602-90C8-86B8954E5255}" dt="2023-03-30T15:24:13.677" v="23067" actId="478"/>
          <ac:picMkLst>
            <pc:docMk/>
            <pc:sldMk cId="871451821" sldId="2141411848"/>
            <ac:picMk id="17" creationId="{46DB66AA-1AA7-3E4B-92F6-6E7E60C7CEE8}"/>
          </ac:picMkLst>
        </pc:picChg>
        <pc:picChg chg="add mod">
          <ac:chgData name="Gasteiger, Cassidy M" userId="49e4247d-81de-4625-ae16-f189e0b7e529" providerId="ADAL" clId="{EFB976C6-EC52-4602-90C8-86B8954E5255}" dt="2023-03-29T02:46:21.067" v="10385" actId="1076"/>
          <ac:picMkLst>
            <pc:docMk/>
            <pc:sldMk cId="871451821" sldId="2141411848"/>
            <ac:picMk id="289" creationId="{1B8783AF-FD84-AF70-09A5-3C858F5CDAB6}"/>
          </ac:picMkLst>
        </pc:picChg>
        <pc:picChg chg="add mod">
          <ac:chgData name="Gasteiger, Cassidy M" userId="49e4247d-81de-4625-ae16-f189e0b7e529" providerId="ADAL" clId="{EFB976C6-EC52-4602-90C8-86B8954E5255}" dt="2023-03-29T02:47:24.912" v="10399" actId="1076"/>
          <ac:picMkLst>
            <pc:docMk/>
            <pc:sldMk cId="871451821" sldId="2141411848"/>
            <ac:picMk id="292" creationId="{F909FE20-EA08-1277-FA4D-8DC4BD212C93}"/>
          </ac:picMkLst>
        </pc:picChg>
        <pc:picChg chg="add mod">
          <ac:chgData name="Gasteiger, Cassidy M" userId="49e4247d-81de-4625-ae16-f189e0b7e529" providerId="ADAL" clId="{EFB976C6-EC52-4602-90C8-86B8954E5255}" dt="2023-03-29T16:46:41.794" v="11434" actId="14100"/>
          <ac:picMkLst>
            <pc:docMk/>
            <pc:sldMk cId="871451821" sldId="2141411848"/>
            <ac:picMk id="294" creationId="{52C336F3-851B-FD8D-D4E5-4F461D781568}"/>
          </ac:picMkLst>
        </pc:picChg>
      </pc:sldChg>
      <pc:sldChg chg="add del">
        <pc:chgData name="Gasteiger, Cassidy M" userId="49e4247d-81de-4625-ae16-f189e0b7e529" providerId="ADAL" clId="{EFB976C6-EC52-4602-90C8-86B8954E5255}" dt="2023-03-28T20:45:55.500" v="7739" actId="2696"/>
        <pc:sldMkLst>
          <pc:docMk/>
          <pc:sldMk cId="2070898386" sldId="2141411848"/>
        </pc:sldMkLst>
      </pc:sldChg>
      <pc:sldChg chg="addSp modSp add del mod">
        <pc:chgData name="Gasteiger, Cassidy M" userId="49e4247d-81de-4625-ae16-f189e0b7e529" providerId="ADAL" clId="{EFB976C6-EC52-4602-90C8-86B8954E5255}" dt="2023-03-30T07:02:16.800" v="20278" actId="2696"/>
        <pc:sldMkLst>
          <pc:docMk/>
          <pc:sldMk cId="3529575682" sldId="2141411849"/>
        </pc:sldMkLst>
        <pc:spChg chg="add mod">
          <ac:chgData name="Gasteiger, Cassidy M" userId="49e4247d-81de-4625-ae16-f189e0b7e529" providerId="ADAL" clId="{EFB976C6-EC52-4602-90C8-86B8954E5255}" dt="2023-03-29T19:55:43.655" v="13518" actId="20577"/>
          <ac:spMkLst>
            <pc:docMk/>
            <pc:sldMk cId="3529575682" sldId="2141411849"/>
            <ac:spMk id="2" creationId="{B249120E-7CAE-A4CF-B4CE-3E1BE87D6E84}"/>
          </ac:spMkLst>
        </pc:spChg>
        <pc:spChg chg="mod">
          <ac:chgData name="Gasteiger, Cassidy M" userId="49e4247d-81de-4625-ae16-f189e0b7e529" providerId="ADAL" clId="{EFB976C6-EC52-4602-90C8-86B8954E5255}" dt="2023-03-29T19:55:18.966" v="13370" actId="20577"/>
          <ac:spMkLst>
            <pc:docMk/>
            <pc:sldMk cId="3529575682" sldId="2141411849"/>
            <ac:spMk id="6" creationId="{7C124A64-309C-B728-4201-B3C215BF08F0}"/>
          </ac:spMkLst>
        </pc:spChg>
      </pc:sldChg>
      <pc:sldChg chg="addSp delSp modSp add del mod ord">
        <pc:chgData name="Gasteiger, Cassidy M" userId="49e4247d-81de-4625-ae16-f189e0b7e529" providerId="ADAL" clId="{EFB976C6-EC52-4602-90C8-86B8954E5255}" dt="2023-03-30T21:45:39.996" v="32047" actId="2696"/>
        <pc:sldMkLst>
          <pc:docMk/>
          <pc:sldMk cId="3351960179" sldId="2141411850"/>
        </pc:sldMkLst>
        <pc:spChg chg="add mod">
          <ac:chgData name="Gasteiger, Cassidy M" userId="49e4247d-81de-4625-ae16-f189e0b7e529" providerId="ADAL" clId="{EFB976C6-EC52-4602-90C8-86B8954E5255}" dt="2023-03-30T02:35:01.642" v="15007" actId="1076"/>
          <ac:spMkLst>
            <pc:docMk/>
            <pc:sldMk cId="3351960179" sldId="2141411850"/>
            <ac:spMk id="2" creationId="{89F75DA7-111E-E3BA-A322-8DCA07698026}"/>
          </ac:spMkLst>
        </pc:spChg>
        <pc:spChg chg="del">
          <ac:chgData name="Gasteiger, Cassidy M" userId="49e4247d-81de-4625-ae16-f189e0b7e529" providerId="ADAL" clId="{EFB976C6-EC52-4602-90C8-86B8954E5255}" dt="2023-03-30T15:44:48.278" v="24163" actId="478"/>
          <ac:spMkLst>
            <pc:docMk/>
            <pc:sldMk cId="3351960179" sldId="2141411850"/>
            <ac:spMk id="3" creationId="{D685CD4E-7253-8D13-3266-8457EE55AD1B}"/>
          </ac:spMkLst>
        </pc:spChg>
        <pc:spChg chg="mod">
          <ac:chgData name="Gasteiger, Cassidy M" userId="49e4247d-81de-4625-ae16-f189e0b7e529" providerId="ADAL" clId="{EFB976C6-EC52-4602-90C8-86B8954E5255}" dt="2023-03-30T00:29:22.645" v="14376" actId="20577"/>
          <ac:spMkLst>
            <pc:docMk/>
            <pc:sldMk cId="3351960179" sldId="2141411850"/>
            <ac:spMk id="8" creationId="{2423C809-83F6-B6E3-EEA1-3B964A3937D8}"/>
          </ac:spMkLst>
        </pc:spChg>
        <pc:spChg chg="del">
          <ac:chgData name="Gasteiger, Cassidy M" userId="49e4247d-81de-4625-ae16-f189e0b7e529" providerId="ADAL" clId="{EFB976C6-EC52-4602-90C8-86B8954E5255}" dt="2023-03-30T00:29:26.957" v="14377" actId="478"/>
          <ac:spMkLst>
            <pc:docMk/>
            <pc:sldMk cId="3351960179" sldId="2141411850"/>
            <ac:spMk id="253" creationId="{7255A71D-4D14-42BB-899A-A0D7BB0A44E0}"/>
          </ac:spMkLst>
        </pc:spChg>
        <pc:picChg chg="del">
          <ac:chgData name="Gasteiger, Cassidy M" userId="49e4247d-81de-4625-ae16-f189e0b7e529" providerId="ADAL" clId="{EFB976C6-EC52-4602-90C8-86B8954E5255}" dt="2023-03-30T15:44:48.278" v="24163" actId="478"/>
          <ac:picMkLst>
            <pc:docMk/>
            <pc:sldMk cId="3351960179" sldId="2141411850"/>
            <ac:picMk id="4" creationId="{13CB42BE-C50B-9279-B5A7-3760DD465F24}"/>
          </ac:picMkLst>
        </pc:picChg>
      </pc:sldChg>
      <pc:sldChg chg="addSp delSp modSp add del mod ord">
        <pc:chgData name="Gasteiger, Cassidy M" userId="49e4247d-81de-4625-ae16-f189e0b7e529" providerId="ADAL" clId="{EFB976C6-EC52-4602-90C8-86B8954E5255}" dt="2023-03-31T02:32:07.668" v="39534" actId="2696"/>
        <pc:sldMkLst>
          <pc:docMk/>
          <pc:sldMk cId="2008096501" sldId="2141411851"/>
        </pc:sldMkLst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2" creationId="{89F75DA7-111E-E3BA-A322-8DCA07698026}"/>
          </ac:spMkLst>
        </pc:spChg>
        <pc:spChg chg="add mod">
          <ac:chgData name="Gasteiger, Cassidy M" userId="49e4247d-81de-4625-ae16-f189e0b7e529" providerId="ADAL" clId="{EFB976C6-EC52-4602-90C8-86B8954E5255}" dt="2023-03-31T01:54:04.751" v="37294" actId="1076"/>
          <ac:spMkLst>
            <pc:docMk/>
            <pc:sldMk cId="2008096501" sldId="2141411851"/>
            <ac:spMk id="2" creationId="{F080DCE9-0A66-C71C-76CF-94171D9AF638}"/>
          </ac:spMkLst>
        </pc:spChg>
        <pc:spChg chg="del">
          <ac:chgData name="Gasteiger, Cassidy M" userId="49e4247d-81de-4625-ae16-f189e0b7e529" providerId="ADAL" clId="{EFB976C6-EC52-4602-90C8-86B8954E5255}" dt="2023-03-30T21:51:04.722" v="32151" actId="478"/>
          <ac:spMkLst>
            <pc:docMk/>
            <pc:sldMk cId="2008096501" sldId="2141411851"/>
            <ac:spMk id="3" creationId="{D685CD4E-7253-8D13-3266-8457EE55AD1B}"/>
          </ac:spMkLst>
        </pc:spChg>
        <pc:spChg chg="add del mod">
          <ac:chgData name="Gasteiger, Cassidy M" userId="49e4247d-81de-4625-ae16-f189e0b7e529" providerId="ADAL" clId="{EFB976C6-EC52-4602-90C8-86B8954E5255}" dt="2023-03-30T02:36:21.729" v="15021" actId="478"/>
          <ac:spMkLst>
            <pc:docMk/>
            <pc:sldMk cId="2008096501" sldId="2141411851"/>
            <ac:spMk id="6" creationId="{66C4EF23-BD1F-FD12-F118-6B4651F1962A}"/>
          </ac:spMkLst>
        </pc:spChg>
        <pc:spChg chg="mod">
          <ac:chgData name="Gasteiger, Cassidy M" userId="49e4247d-81de-4625-ae16-f189e0b7e529" providerId="ADAL" clId="{EFB976C6-EC52-4602-90C8-86B8954E5255}" dt="2023-03-30T21:51:39.969" v="32166" actId="20577"/>
          <ac:spMkLst>
            <pc:docMk/>
            <pc:sldMk cId="2008096501" sldId="2141411851"/>
            <ac:spMk id="7" creationId="{3D04196F-113A-6E11-FC72-034143DF4BE4}"/>
          </ac:spMkLst>
        </pc:spChg>
        <pc:spChg chg="add del mod">
          <ac:chgData name="Gasteiger, Cassidy M" userId="49e4247d-81de-4625-ae16-f189e0b7e529" providerId="ADAL" clId="{EFB976C6-EC52-4602-90C8-86B8954E5255}" dt="2023-03-30T02:35:54.105" v="15015" actId="478"/>
          <ac:spMkLst>
            <pc:docMk/>
            <pc:sldMk cId="2008096501" sldId="2141411851"/>
            <ac:spMk id="7" creationId="{FE956EA5-CB55-1CE9-A1FD-8B14DEAA2433}"/>
          </ac:spMkLst>
        </pc:spChg>
        <pc:spChg chg="mod">
          <ac:chgData name="Gasteiger, Cassidy M" userId="49e4247d-81de-4625-ae16-f189e0b7e529" providerId="ADAL" clId="{EFB976C6-EC52-4602-90C8-86B8954E5255}" dt="2023-03-30T21:51:11.066" v="32152"/>
          <ac:spMkLst>
            <pc:docMk/>
            <pc:sldMk cId="2008096501" sldId="2141411851"/>
            <ac:spMk id="9" creationId="{1ED7B318-07EB-EC9D-7306-69ED8DAAFE7C}"/>
          </ac:spMkLst>
        </pc:spChg>
        <pc:spChg chg="add del mod">
          <ac:chgData name="Gasteiger, Cassidy M" userId="49e4247d-81de-4625-ae16-f189e0b7e529" providerId="ADAL" clId="{EFB976C6-EC52-4602-90C8-86B8954E5255}" dt="2023-03-30T02:35:56.694" v="15016" actId="478"/>
          <ac:spMkLst>
            <pc:docMk/>
            <pc:sldMk cId="2008096501" sldId="2141411851"/>
            <ac:spMk id="9" creationId="{4A39F4B5-326E-2775-7472-4393BD0ECC4F}"/>
          </ac:spMkLst>
        </pc:spChg>
        <pc:spChg chg="add del mod">
          <ac:chgData name="Gasteiger, Cassidy M" userId="49e4247d-81de-4625-ae16-f189e0b7e529" providerId="ADAL" clId="{EFB976C6-EC52-4602-90C8-86B8954E5255}" dt="2023-03-30T02:36:21.729" v="15021" actId="478"/>
          <ac:spMkLst>
            <pc:docMk/>
            <pc:sldMk cId="2008096501" sldId="2141411851"/>
            <ac:spMk id="10" creationId="{863CB7D5-5A3C-B9B2-2E41-34A5445C216E}"/>
          </ac:spMkLst>
        </pc:spChg>
        <pc:spChg chg="add del mod">
          <ac:chgData name="Gasteiger, Cassidy M" userId="49e4247d-81de-4625-ae16-f189e0b7e529" providerId="ADAL" clId="{EFB976C6-EC52-4602-90C8-86B8954E5255}" dt="2023-03-30T02:35:54.105" v="15015" actId="478"/>
          <ac:spMkLst>
            <pc:docMk/>
            <pc:sldMk cId="2008096501" sldId="2141411851"/>
            <ac:spMk id="11" creationId="{BE753C42-0E30-0512-81E3-09582C65A62D}"/>
          </ac:spMkLst>
        </pc:spChg>
        <pc:spChg chg="add del mod">
          <ac:chgData name="Gasteiger, Cassidy M" userId="49e4247d-81de-4625-ae16-f189e0b7e529" providerId="ADAL" clId="{EFB976C6-EC52-4602-90C8-86B8954E5255}" dt="2023-03-30T02:35:58.248" v="15017" actId="478"/>
          <ac:spMkLst>
            <pc:docMk/>
            <pc:sldMk cId="2008096501" sldId="2141411851"/>
            <ac:spMk id="12" creationId="{3048EA32-06F6-2C2B-9D80-E82DAF1F2643}"/>
          </ac:spMkLst>
        </pc:spChg>
        <pc:spChg chg="add del mod">
          <ac:chgData name="Gasteiger, Cassidy M" userId="49e4247d-81de-4625-ae16-f189e0b7e529" providerId="ADAL" clId="{EFB976C6-EC52-4602-90C8-86B8954E5255}" dt="2023-03-30T02:36:21.729" v="15021" actId="478"/>
          <ac:spMkLst>
            <pc:docMk/>
            <pc:sldMk cId="2008096501" sldId="2141411851"/>
            <ac:spMk id="13" creationId="{D16CF10F-94A1-6547-BB35-8179FD4CF20D}"/>
          </ac:spMkLst>
        </pc:spChg>
        <pc:spChg chg="add del mod">
          <ac:chgData name="Gasteiger, Cassidy M" userId="49e4247d-81de-4625-ae16-f189e0b7e529" providerId="ADAL" clId="{EFB976C6-EC52-4602-90C8-86B8954E5255}" dt="2023-03-30T02:35:51.139" v="15013" actId="478"/>
          <ac:spMkLst>
            <pc:docMk/>
            <pc:sldMk cId="2008096501" sldId="2141411851"/>
            <ac:spMk id="14" creationId="{213306B7-58C1-353A-D991-C7B12BF060E7}"/>
          </ac:spMkLst>
        </pc:spChg>
        <pc:spChg chg="add del mod">
          <ac:chgData name="Gasteiger, Cassidy M" userId="49e4247d-81de-4625-ae16-f189e0b7e529" providerId="ADAL" clId="{EFB976C6-EC52-4602-90C8-86B8954E5255}" dt="2023-03-30T02:35:56.694" v="15016" actId="478"/>
          <ac:spMkLst>
            <pc:docMk/>
            <pc:sldMk cId="2008096501" sldId="2141411851"/>
            <ac:spMk id="15" creationId="{965668C4-4263-F807-15D4-B9D1E1C9A958}"/>
          </ac:spMkLst>
        </pc:spChg>
        <pc:spChg chg="mod">
          <ac:chgData name="Gasteiger, Cassidy M" userId="49e4247d-81de-4625-ae16-f189e0b7e529" providerId="ADAL" clId="{EFB976C6-EC52-4602-90C8-86B8954E5255}" dt="2023-03-30T02:35:37.829" v="15010"/>
          <ac:spMkLst>
            <pc:docMk/>
            <pc:sldMk cId="2008096501" sldId="2141411851"/>
            <ac:spMk id="19" creationId="{22E11618-5E5F-2385-1B30-DB802C3F6F93}"/>
          </ac:spMkLst>
        </pc:spChg>
        <pc:spChg chg="mod">
          <ac:chgData name="Gasteiger, Cassidy M" userId="49e4247d-81de-4625-ae16-f189e0b7e529" providerId="ADAL" clId="{EFB976C6-EC52-4602-90C8-86B8954E5255}" dt="2023-03-30T02:35:37.829" v="15010"/>
          <ac:spMkLst>
            <pc:docMk/>
            <pc:sldMk cId="2008096501" sldId="2141411851"/>
            <ac:spMk id="20" creationId="{4832E530-F2FB-1035-73D5-589F9DDA1676}"/>
          </ac:spMkLst>
        </pc:spChg>
        <pc:spChg chg="mod">
          <ac:chgData name="Gasteiger, Cassidy M" userId="49e4247d-81de-4625-ae16-f189e0b7e529" providerId="ADAL" clId="{EFB976C6-EC52-4602-90C8-86B8954E5255}" dt="2023-03-30T02:35:37.829" v="15010"/>
          <ac:spMkLst>
            <pc:docMk/>
            <pc:sldMk cId="2008096501" sldId="2141411851"/>
            <ac:spMk id="21" creationId="{6C031DBB-0FCB-69BC-0F1D-305EEE6790B3}"/>
          </ac:spMkLst>
        </pc:spChg>
        <pc:spChg chg="mod">
          <ac:chgData name="Gasteiger, Cassidy M" userId="49e4247d-81de-4625-ae16-f189e0b7e529" providerId="ADAL" clId="{EFB976C6-EC52-4602-90C8-86B8954E5255}" dt="2023-03-30T02:35:37.829" v="15010"/>
          <ac:spMkLst>
            <pc:docMk/>
            <pc:sldMk cId="2008096501" sldId="2141411851"/>
            <ac:spMk id="22" creationId="{986518C6-929E-6566-1ABE-63A1BB00D4CA}"/>
          </ac:spMkLst>
        </pc:spChg>
        <pc:spChg chg="add mod">
          <ac:chgData name="Gasteiger, Cassidy M" userId="49e4247d-81de-4625-ae16-f189e0b7e529" providerId="ADAL" clId="{EFB976C6-EC52-4602-90C8-86B8954E5255}" dt="2023-03-30T02:36:40.839" v="15023" actId="1076"/>
          <ac:spMkLst>
            <pc:docMk/>
            <pc:sldMk cId="2008096501" sldId="2141411851"/>
            <ac:spMk id="23" creationId="{EFE6154A-E78B-100C-D232-18DB33D5A581}"/>
          </ac:spMkLst>
        </pc:spChg>
        <pc:spChg chg="add mod">
          <ac:chgData name="Gasteiger, Cassidy M" userId="49e4247d-81de-4625-ae16-f189e0b7e529" providerId="ADAL" clId="{EFB976C6-EC52-4602-90C8-86B8954E5255}" dt="2023-03-30T02:36:40.839" v="15023" actId="1076"/>
          <ac:spMkLst>
            <pc:docMk/>
            <pc:sldMk cId="2008096501" sldId="2141411851"/>
            <ac:spMk id="29" creationId="{CAF6229D-E410-C6ED-7C90-F898E796A38E}"/>
          </ac:spMkLst>
        </pc:spChg>
        <pc:spChg chg="add mod">
          <ac:chgData name="Gasteiger, Cassidy M" userId="49e4247d-81de-4625-ae16-f189e0b7e529" providerId="ADAL" clId="{EFB976C6-EC52-4602-90C8-86B8954E5255}" dt="2023-03-30T02:36:40.839" v="15023" actId="1076"/>
          <ac:spMkLst>
            <pc:docMk/>
            <pc:sldMk cId="2008096501" sldId="2141411851"/>
            <ac:spMk id="30" creationId="{95C3AFDE-3315-E425-6962-33F39379D5BF}"/>
          </ac:spMkLst>
        </pc:spChg>
        <pc:spChg chg="add mod">
          <ac:chgData name="Gasteiger, Cassidy M" userId="49e4247d-81de-4625-ae16-f189e0b7e529" providerId="ADAL" clId="{EFB976C6-EC52-4602-90C8-86B8954E5255}" dt="2023-03-30T02:36:40.839" v="15023" actId="1076"/>
          <ac:spMkLst>
            <pc:docMk/>
            <pc:sldMk cId="2008096501" sldId="2141411851"/>
            <ac:spMk id="31" creationId="{79A49720-38FE-33B2-8C8C-E59BB1D31080}"/>
          </ac:spMkLst>
        </pc:spChg>
        <pc:spChg chg="add mod">
          <ac:chgData name="Gasteiger, Cassidy M" userId="49e4247d-81de-4625-ae16-f189e0b7e529" providerId="ADAL" clId="{EFB976C6-EC52-4602-90C8-86B8954E5255}" dt="2023-03-30T02:36:40.839" v="15023" actId="1076"/>
          <ac:spMkLst>
            <pc:docMk/>
            <pc:sldMk cId="2008096501" sldId="2141411851"/>
            <ac:spMk id="32" creationId="{A7E3BDFA-EFDB-E31C-F811-6AED71557A4C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194" creationId="{D915D6B4-08F7-445F-8151-52E4C3E905E3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195" creationId="{EDA6B406-4C92-476F-8401-1200D903A65E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196" creationId="{0A79B89A-F2E5-4238-8AC1-C785F29DC472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201" creationId="{9EB79E8B-DA14-454B-A625-236FE61E94D9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202" creationId="{29E7D975-A05E-4E45-8CC9-2C5BFB738824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203" creationId="{50D088C0-83B7-45F4-BE2B-AFCE01F46BB6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204" creationId="{0D9E8726-6CA7-495E-98A0-BD3CB7FA4ACF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205" creationId="{664A186B-63C7-4771-B1D5-0E72F24F15BB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206" creationId="{7D4B1AED-B2F5-49A7-8042-22727CA06D3E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207" creationId="{8DD23C58-0625-4F9C-8B3F-D0E16F29823A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208" creationId="{6BEA58A8-898E-4FE6-8D3A-7EF5A1C4588F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209" creationId="{A51459D5-3238-4C2C-A918-CF504E1B36BB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210" creationId="{531651B3-8A5D-42AE-89EC-0A65B6B36FDE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211" creationId="{1ACAC143-171D-4062-9C25-D71C16B1B692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257" creationId="{5DDF44BC-53AB-4E26-B1A7-E349114165E6}"/>
          </ac:spMkLst>
        </pc:spChg>
        <pc:spChg chg="del">
          <ac:chgData name="Gasteiger, Cassidy M" userId="49e4247d-81de-4625-ae16-f189e0b7e529" providerId="ADAL" clId="{EFB976C6-EC52-4602-90C8-86B8954E5255}" dt="2023-03-30T02:35:25.478" v="15009" actId="478"/>
          <ac:spMkLst>
            <pc:docMk/>
            <pc:sldMk cId="2008096501" sldId="2141411851"/>
            <ac:spMk id="263" creationId="{B62C71DA-ED35-490D-81DD-E08168DD4484}"/>
          </ac:spMkLst>
        </pc:spChg>
        <pc:grpChg chg="add mod">
          <ac:chgData name="Gasteiger, Cassidy M" userId="49e4247d-81de-4625-ae16-f189e0b7e529" providerId="ADAL" clId="{EFB976C6-EC52-4602-90C8-86B8954E5255}" dt="2023-03-30T21:51:11.066" v="32152"/>
          <ac:grpSpMkLst>
            <pc:docMk/>
            <pc:sldMk cId="2008096501" sldId="2141411851"/>
            <ac:grpSpMk id="6" creationId="{99A1537D-BDE4-28DE-0AC7-7A2388CFF6F7}"/>
          </ac:grpSpMkLst>
        </pc:grpChg>
        <pc:grpChg chg="add del mod">
          <ac:chgData name="Gasteiger, Cassidy M" userId="49e4247d-81de-4625-ae16-f189e0b7e529" providerId="ADAL" clId="{EFB976C6-EC52-4602-90C8-86B8954E5255}" dt="2023-03-30T02:35:56.694" v="15016" actId="478"/>
          <ac:grpSpMkLst>
            <pc:docMk/>
            <pc:sldMk cId="2008096501" sldId="2141411851"/>
            <ac:grpSpMk id="18" creationId="{C6B80223-1A4C-A661-A6A0-71D2B3FB2CC3}"/>
          </ac:grpSpMkLst>
        </pc:grpChg>
        <pc:grpChg chg="del">
          <ac:chgData name="Gasteiger, Cassidy M" userId="49e4247d-81de-4625-ae16-f189e0b7e529" providerId="ADAL" clId="{EFB976C6-EC52-4602-90C8-86B8954E5255}" dt="2023-03-30T02:35:25.478" v="15009" actId="478"/>
          <ac:grpSpMkLst>
            <pc:docMk/>
            <pc:sldMk cId="2008096501" sldId="2141411851"/>
            <ac:grpSpMk id="197" creationId="{6B111C1D-B986-4851-BA44-F9B69A52B519}"/>
          </ac:grpSpMkLst>
        </pc:grpChg>
        <pc:graphicFrameChg chg="add mod">
          <ac:chgData name="Gasteiger, Cassidy M" userId="49e4247d-81de-4625-ae16-f189e0b7e529" providerId="ADAL" clId="{EFB976C6-EC52-4602-90C8-86B8954E5255}" dt="2023-03-30T02:36:40.839" v="15023" actId="1076"/>
          <ac:graphicFrameMkLst>
            <pc:docMk/>
            <pc:sldMk cId="2008096501" sldId="2141411851"/>
            <ac:graphicFrameMk id="25" creationId="{0A734625-8697-0079-04C8-8614FE7457E9}"/>
          </ac:graphicFrameMkLst>
        </pc:graphicFrameChg>
        <pc:graphicFrameChg chg="add mod">
          <ac:chgData name="Gasteiger, Cassidy M" userId="49e4247d-81de-4625-ae16-f189e0b7e529" providerId="ADAL" clId="{EFB976C6-EC52-4602-90C8-86B8954E5255}" dt="2023-03-30T02:36:40.839" v="15023" actId="1076"/>
          <ac:graphicFrameMkLst>
            <pc:docMk/>
            <pc:sldMk cId="2008096501" sldId="2141411851"/>
            <ac:graphicFrameMk id="26" creationId="{8BBBB79B-E4B5-18B6-48A8-9F92E4A3B064}"/>
          </ac:graphicFrameMkLst>
        </pc:graphicFrameChg>
        <pc:graphicFrameChg chg="add mod">
          <ac:chgData name="Gasteiger, Cassidy M" userId="49e4247d-81de-4625-ae16-f189e0b7e529" providerId="ADAL" clId="{EFB976C6-EC52-4602-90C8-86B8954E5255}" dt="2023-03-30T02:36:40.839" v="15023" actId="1076"/>
          <ac:graphicFrameMkLst>
            <pc:docMk/>
            <pc:sldMk cId="2008096501" sldId="2141411851"/>
            <ac:graphicFrameMk id="27" creationId="{87309385-D330-17CE-B1C8-CED97BFDA79F}"/>
          </ac:graphicFrameMkLst>
        </pc:graphicFrameChg>
        <pc:graphicFrameChg chg="add mod">
          <ac:chgData name="Gasteiger, Cassidy M" userId="49e4247d-81de-4625-ae16-f189e0b7e529" providerId="ADAL" clId="{EFB976C6-EC52-4602-90C8-86B8954E5255}" dt="2023-03-30T02:36:40.839" v="15023" actId="1076"/>
          <ac:graphicFrameMkLst>
            <pc:docMk/>
            <pc:sldMk cId="2008096501" sldId="2141411851"/>
            <ac:graphicFrameMk id="28" creationId="{32781A18-DCC7-A683-1947-6F935A3E05C6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2:35:25.478" v="15009" actId="478"/>
          <ac:graphicFrameMkLst>
            <pc:docMk/>
            <pc:sldMk cId="2008096501" sldId="2141411851"/>
            <ac:graphicFrameMk id="212" creationId="{437E20B5-DCF4-409E-81A9-106D4786989E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2:35:25.478" v="15009" actId="478"/>
          <ac:graphicFrameMkLst>
            <pc:docMk/>
            <pc:sldMk cId="2008096501" sldId="2141411851"/>
            <ac:graphicFrameMk id="213" creationId="{48CB47A3-28C8-41E3-B5C5-2F671E45BBD3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2:35:25.478" v="15009" actId="478"/>
          <ac:graphicFrameMkLst>
            <pc:docMk/>
            <pc:sldMk cId="2008096501" sldId="2141411851"/>
            <ac:graphicFrameMk id="214" creationId="{4074436B-22D8-45B5-A4C4-115675B2609B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2:35:25.478" v="15009" actId="478"/>
          <ac:graphicFrameMkLst>
            <pc:docMk/>
            <pc:sldMk cId="2008096501" sldId="2141411851"/>
            <ac:graphicFrameMk id="215" creationId="{6E32EB89-5BFB-4BD2-A731-E318A9B82DBE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2:35:25.478" v="15009" actId="478"/>
          <ac:graphicFrameMkLst>
            <pc:docMk/>
            <pc:sldMk cId="2008096501" sldId="2141411851"/>
            <ac:graphicFrameMk id="254" creationId="{4B043786-CF3E-42B7-9234-B5BC7139B0FB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2:35:25.478" v="15009" actId="478"/>
          <ac:graphicFrameMkLst>
            <pc:docMk/>
            <pc:sldMk cId="2008096501" sldId="2141411851"/>
            <ac:graphicFrameMk id="255" creationId="{43012138-E161-4815-A10A-57497B36CA6F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2:35:25.478" v="15009" actId="478"/>
          <ac:graphicFrameMkLst>
            <pc:docMk/>
            <pc:sldMk cId="2008096501" sldId="2141411851"/>
            <ac:graphicFrameMk id="256" creationId="{E5710A92-AC13-4A4C-B9F9-6E3C55471858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2:35:25.478" v="15009" actId="478"/>
          <ac:graphicFrameMkLst>
            <pc:docMk/>
            <pc:sldMk cId="2008096501" sldId="2141411851"/>
            <ac:graphicFrameMk id="259" creationId="{2FADA289-8F35-4FBF-B648-36375646E20F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2:35:25.478" v="15009" actId="478"/>
          <ac:graphicFrameMkLst>
            <pc:docMk/>
            <pc:sldMk cId="2008096501" sldId="2141411851"/>
            <ac:graphicFrameMk id="260" creationId="{410AE525-271B-40BE-A1D1-2B07F398876A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2:35:25.478" v="15009" actId="478"/>
          <ac:graphicFrameMkLst>
            <pc:docMk/>
            <pc:sldMk cId="2008096501" sldId="2141411851"/>
            <ac:graphicFrameMk id="261" creationId="{77D2B91B-CCA6-4025-8C1E-1D40DE0778A6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0T02:35:25.478" v="15009" actId="478"/>
          <ac:graphicFrameMkLst>
            <pc:docMk/>
            <pc:sldMk cId="2008096501" sldId="2141411851"/>
            <ac:graphicFrameMk id="262" creationId="{20CA5EE9-04B9-49A5-B3DE-FEE66CC168B3}"/>
          </ac:graphicFrameMkLst>
        </pc:graphicFrameChg>
        <pc:picChg chg="del">
          <ac:chgData name="Gasteiger, Cassidy M" userId="49e4247d-81de-4625-ae16-f189e0b7e529" providerId="ADAL" clId="{EFB976C6-EC52-4602-90C8-86B8954E5255}" dt="2023-03-30T21:51:04.722" v="32151" actId="478"/>
          <ac:picMkLst>
            <pc:docMk/>
            <pc:sldMk cId="2008096501" sldId="2141411851"/>
            <ac:picMk id="4" creationId="{13CB42BE-C50B-9279-B5A7-3760DD465F24}"/>
          </ac:picMkLst>
        </pc:picChg>
        <pc:picChg chg="add del mod">
          <ac:chgData name="Gasteiger, Cassidy M" userId="49e4247d-81de-4625-ae16-f189e0b7e529" providerId="ADAL" clId="{EFB976C6-EC52-4602-90C8-86B8954E5255}" dt="2023-03-30T02:35:52.315" v="15014" actId="478"/>
          <ac:picMkLst>
            <pc:docMk/>
            <pc:sldMk cId="2008096501" sldId="2141411851"/>
            <ac:picMk id="16" creationId="{8AAFE901-025C-4FFA-C81B-16A808A98482}"/>
          </ac:picMkLst>
        </pc:picChg>
        <pc:picChg chg="add del mod">
          <ac:chgData name="Gasteiger, Cassidy M" userId="49e4247d-81de-4625-ae16-f189e0b7e529" providerId="ADAL" clId="{EFB976C6-EC52-4602-90C8-86B8954E5255}" dt="2023-03-30T02:36:21.729" v="15021" actId="478"/>
          <ac:picMkLst>
            <pc:docMk/>
            <pc:sldMk cId="2008096501" sldId="2141411851"/>
            <ac:picMk id="17" creationId="{3B6BE9CC-C648-CA69-784C-1C5E0B2EDC54}"/>
          </ac:picMkLst>
        </pc:picChg>
        <pc:picChg chg="add mod">
          <ac:chgData name="Gasteiger, Cassidy M" userId="49e4247d-81de-4625-ae16-f189e0b7e529" providerId="ADAL" clId="{EFB976C6-EC52-4602-90C8-86B8954E5255}" dt="2023-03-30T02:36:40.839" v="15023" actId="1076"/>
          <ac:picMkLst>
            <pc:docMk/>
            <pc:sldMk cId="2008096501" sldId="2141411851"/>
            <ac:picMk id="24" creationId="{619D1398-539D-8827-EEFA-BAD42DBD7BA8}"/>
          </ac:picMkLst>
        </pc:picChg>
        <pc:picChg chg="del">
          <ac:chgData name="Gasteiger, Cassidy M" userId="49e4247d-81de-4625-ae16-f189e0b7e529" providerId="ADAL" clId="{EFB976C6-EC52-4602-90C8-86B8954E5255}" dt="2023-03-30T02:35:25.478" v="15009" actId="478"/>
          <ac:picMkLst>
            <pc:docMk/>
            <pc:sldMk cId="2008096501" sldId="2141411851"/>
            <ac:picMk id="258" creationId="{8A85A586-D9D0-4C2E-88CD-932D94314286}"/>
          </ac:picMkLst>
        </pc:picChg>
      </pc:sldChg>
      <pc:sldChg chg="add del ord">
        <pc:chgData name="Gasteiger, Cassidy M" userId="49e4247d-81de-4625-ae16-f189e0b7e529" providerId="ADAL" clId="{EFB976C6-EC52-4602-90C8-86B8954E5255}" dt="2023-03-30T04:34:03.244" v="17203" actId="2696"/>
        <pc:sldMkLst>
          <pc:docMk/>
          <pc:sldMk cId="865019740" sldId="2141411852"/>
        </pc:sldMkLst>
      </pc:sldChg>
      <pc:sldChg chg="addSp delSp modSp add del mod ord">
        <pc:chgData name="Gasteiger, Cassidy M" userId="49e4247d-81de-4625-ae16-f189e0b7e529" providerId="ADAL" clId="{EFB976C6-EC52-4602-90C8-86B8954E5255}" dt="2023-03-30T20:31:36.380" v="29847" actId="2696"/>
        <pc:sldMkLst>
          <pc:docMk/>
          <pc:sldMk cId="2514823871" sldId="2141411852"/>
        </pc:sldMkLst>
        <pc:spChg chg="add del mod">
          <ac:chgData name="Gasteiger, Cassidy M" userId="49e4247d-81de-4625-ae16-f189e0b7e529" providerId="ADAL" clId="{EFB976C6-EC52-4602-90C8-86B8954E5255}" dt="2023-03-30T05:56:44.041" v="20066" actId="478"/>
          <ac:spMkLst>
            <pc:docMk/>
            <pc:sldMk cId="2514823871" sldId="2141411852"/>
            <ac:spMk id="2" creationId="{7E5AC43F-7353-41E9-E8B1-FBD62EAAA792}"/>
          </ac:spMkLst>
        </pc:spChg>
        <pc:spChg chg="add mod">
          <ac:chgData name="Gasteiger, Cassidy M" userId="49e4247d-81de-4625-ae16-f189e0b7e529" providerId="ADAL" clId="{EFB976C6-EC52-4602-90C8-86B8954E5255}" dt="2023-03-30T20:04:37.680" v="28485" actId="20577"/>
          <ac:spMkLst>
            <pc:docMk/>
            <pc:sldMk cId="2514823871" sldId="2141411852"/>
            <ac:spMk id="2" creationId="{A35A992D-F5A4-479E-83CF-9EC330CCC249}"/>
          </ac:spMkLst>
        </pc:spChg>
        <pc:spChg chg="del mod">
          <ac:chgData name="Gasteiger, Cassidy M" userId="49e4247d-81de-4625-ae16-f189e0b7e529" providerId="ADAL" clId="{EFB976C6-EC52-4602-90C8-86B8954E5255}" dt="2023-03-30T05:56:41.267" v="20064" actId="478"/>
          <ac:spMkLst>
            <pc:docMk/>
            <pc:sldMk cId="2514823871" sldId="2141411852"/>
            <ac:spMk id="7" creationId="{EBE908A8-00BF-125C-E586-4C1E0C43EC37}"/>
          </ac:spMkLst>
        </pc:spChg>
        <pc:spChg chg="mod">
          <ac:chgData name="Gasteiger, Cassidy M" userId="49e4247d-81de-4625-ae16-f189e0b7e529" providerId="ADAL" clId="{EFB976C6-EC52-4602-90C8-86B8954E5255}" dt="2023-03-30T15:44:19.378" v="24130" actId="20577"/>
          <ac:spMkLst>
            <pc:docMk/>
            <pc:sldMk cId="2514823871" sldId="2141411852"/>
            <ac:spMk id="15" creationId="{0EB400BE-DCEB-DAD8-CDDE-5119CECEB9DE}"/>
          </ac:spMkLst>
        </pc:spChg>
        <pc:spChg chg="mod">
          <ac:chgData name="Gasteiger, Cassidy M" userId="49e4247d-81de-4625-ae16-f189e0b7e529" providerId="ADAL" clId="{EFB976C6-EC52-4602-90C8-86B8954E5255}" dt="2023-03-30T15:44:14.824" v="24106"/>
          <ac:spMkLst>
            <pc:docMk/>
            <pc:sldMk cId="2514823871" sldId="2141411852"/>
            <ac:spMk id="16" creationId="{FAE205D1-5142-6805-B5C5-DD3896D4E5E0}"/>
          </ac:spMkLst>
        </pc:spChg>
        <pc:spChg chg="mod">
          <ac:chgData name="Gasteiger, Cassidy M" userId="49e4247d-81de-4625-ae16-f189e0b7e529" providerId="ADAL" clId="{EFB976C6-EC52-4602-90C8-86B8954E5255}" dt="2023-03-30T04:34:27.893" v="17243" actId="1076"/>
          <ac:spMkLst>
            <pc:docMk/>
            <pc:sldMk cId="2514823871" sldId="2141411852"/>
            <ac:spMk id="235" creationId="{00000000-0000-0000-0000-000000000000}"/>
          </ac:spMkLst>
        </pc:spChg>
        <pc:grpChg chg="del">
          <ac:chgData name="Gasteiger, Cassidy M" userId="49e4247d-81de-4625-ae16-f189e0b7e529" providerId="ADAL" clId="{EFB976C6-EC52-4602-90C8-86B8954E5255}" dt="2023-03-30T15:44:13.848" v="24105" actId="478"/>
          <ac:grpSpMkLst>
            <pc:docMk/>
            <pc:sldMk cId="2514823871" sldId="2141411852"/>
            <ac:grpSpMk id="4" creationId="{67CAA3B8-5930-35B3-A3E5-40124557C3B6}"/>
          </ac:grpSpMkLst>
        </pc:grpChg>
        <pc:grpChg chg="add mod">
          <ac:chgData name="Gasteiger, Cassidy M" userId="49e4247d-81de-4625-ae16-f189e0b7e529" providerId="ADAL" clId="{EFB976C6-EC52-4602-90C8-86B8954E5255}" dt="2023-03-30T15:44:14.824" v="24106"/>
          <ac:grpSpMkLst>
            <pc:docMk/>
            <pc:sldMk cId="2514823871" sldId="2141411852"/>
            <ac:grpSpMk id="14" creationId="{E159E611-9059-5E8A-95D5-FFFD6EABD09D}"/>
          </ac:grpSpMkLst>
        </pc:grpChg>
        <pc:graphicFrameChg chg="add del mod">
          <ac:chgData name="Gasteiger, Cassidy M" userId="49e4247d-81de-4625-ae16-f189e0b7e529" providerId="ADAL" clId="{EFB976C6-EC52-4602-90C8-86B8954E5255}" dt="2023-03-30T05:56:44.041" v="20066" actId="478"/>
          <ac:graphicFrameMkLst>
            <pc:docMk/>
            <pc:sldMk cId="2514823871" sldId="2141411852"/>
            <ac:graphicFrameMk id="6" creationId="{5A295845-0CE5-C021-F724-E61FF08EB652}"/>
          </ac:graphicFrameMkLst>
        </pc:graphicFrameChg>
        <pc:picChg chg="add del mod">
          <ac:chgData name="Gasteiger, Cassidy M" userId="49e4247d-81de-4625-ae16-f189e0b7e529" providerId="ADAL" clId="{EFB976C6-EC52-4602-90C8-86B8954E5255}" dt="2023-03-30T05:58:08.741" v="20074" actId="478"/>
          <ac:picMkLst>
            <pc:docMk/>
            <pc:sldMk cId="2514823871" sldId="2141411852"/>
            <ac:picMk id="11" creationId="{0166F068-5EB1-BE0E-0B52-A8117E03C4A7}"/>
          </ac:picMkLst>
        </pc:picChg>
        <pc:picChg chg="add del mod">
          <ac:chgData name="Gasteiger, Cassidy M" userId="49e4247d-81de-4625-ae16-f189e0b7e529" providerId="ADAL" clId="{EFB976C6-EC52-4602-90C8-86B8954E5255}" dt="2023-03-30T05:59:11.666" v="20085" actId="21"/>
          <ac:picMkLst>
            <pc:docMk/>
            <pc:sldMk cId="2514823871" sldId="2141411852"/>
            <ac:picMk id="13" creationId="{F6F588C5-A08A-E1B3-22F1-5C81E4E64695}"/>
          </ac:picMkLst>
        </pc:picChg>
      </pc:sldChg>
      <pc:sldChg chg="add del">
        <pc:chgData name="Gasteiger, Cassidy M" userId="49e4247d-81de-4625-ae16-f189e0b7e529" providerId="ADAL" clId="{EFB976C6-EC52-4602-90C8-86B8954E5255}" dt="2023-03-30T04:38:00.941" v="17246" actId="2696"/>
        <pc:sldMkLst>
          <pc:docMk/>
          <pc:sldMk cId="2526912052" sldId="2141411853"/>
        </pc:sldMkLst>
      </pc:sldChg>
      <pc:sldChg chg="addSp delSp modSp add mod ord">
        <pc:chgData name="Gasteiger, Cassidy M" userId="49e4247d-81de-4625-ae16-f189e0b7e529" providerId="ADAL" clId="{EFB976C6-EC52-4602-90C8-86B8954E5255}" dt="2023-03-31T01:53:06" v="37292" actId="207"/>
        <pc:sldMkLst>
          <pc:docMk/>
          <pc:sldMk cId="3459780850" sldId="2141411853"/>
        </pc:sldMkLst>
        <pc:spChg chg="add del mod">
          <ac:chgData name="Gasteiger, Cassidy M" userId="49e4247d-81de-4625-ae16-f189e0b7e529" providerId="ADAL" clId="{EFB976C6-EC52-4602-90C8-86B8954E5255}" dt="2023-03-30T15:43:18.401" v="24078" actId="478"/>
          <ac:spMkLst>
            <pc:docMk/>
            <pc:sldMk cId="3459780850" sldId="2141411853"/>
            <ac:spMk id="2" creationId="{68A57693-42FC-FDCD-6D18-F5863BAB14A5}"/>
          </ac:spMkLst>
        </pc:spChg>
        <pc:spChg chg="mod">
          <ac:chgData name="Gasteiger, Cassidy M" userId="49e4247d-81de-4625-ae16-f189e0b7e529" providerId="ADAL" clId="{EFB976C6-EC52-4602-90C8-86B8954E5255}" dt="2023-03-30T22:26:35.814" v="32931"/>
          <ac:spMkLst>
            <pc:docMk/>
            <pc:sldMk cId="3459780850" sldId="2141411853"/>
            <ac:spMk id="3" creationId="{9E4F563D-5678-6540-1143-B157B9C2311E}"/>
          </ac:spMkLst>
        </pc:spChg>
        <pc:spChg chg="del">
          <ac:chgData name="Gasteiger, Cassidy M" userId="49e4247d-81de-4625-ae16-f189e0b7e529" providerId="ADAL" clId="{EFB976C6-EC52-4602-90C8-86B8954E5255}" dt="2023-03-30T05:46:03.578" v="19899" actId="478"/>
          <ac:spMkLst>
            <pc:docMk/>
            <pc:sldMk cId="3459780850" sldId="2141411853"/>
            <ac:spMk id="3" creationId="{E9D77BA1-BE21-77AC-DB82-B4745D905D52}"/>
          </ac:spMkLst>
        </pc:spChg>
        <pc:spChg chg="mod">
          <ac:chgData name="Gasteiger, Cassidy M" userId="49e4247d-81de-4625-ae16-f189e0b7e529" providerId="ADAL" clId="{EFB976C6-EC52-4602-90C8-86B8954E5255}" dt="2023-03-30T22:26:35.814" v="32931"/>
          <ac:spMkLst>
            <pc:docMk/>
            <pc:sldMk cId="3459780850" sldId="2141411853"/>
            <ac:spMk id="4" creationId="{224FCF27-896D-C2C9-8F4B-3F44E2DDC5D7}"/>
          </ac:spMkLst>
        </pc:spChg>
        <pc:spChg chg="del">
          <ac:chgData name="Gasteiger, Cassidy M" userId="49e4247d-81de-4625-ae16-f189e0b7e529" providerId="ADAL" clId="{EFB976C6-EC52-4602-90C8-86B8954E5255}" dt="2023-03-30T05:46:03.578" v="19899" actId="478"/>
          <ac:spMkLst>
            <pc:docMk/>
            <pc:sldMk cId="3459780850" sldId="2141411853"/>
            <ac:spMk id="4" creationId="{A4EB89FE-3CD0-B3ED-8458-D0F2FCCE756B}"/>
          </ac:spMkLst>
        </pc:spChg>
        <pc:spChg chg="del">
          <ac:chgData name="Gasteiger, Cassidy M" userId="49e4247d-81de-4625-ae16-f189e0b7e529" providerId="ADAL" clId="{EFB976C6-EC52-4602-90C8-86B8954E5255}" dt="2023-03-30T05:46:03.578" v="19899" actId="478"/>
          <ac:spMkLst>
            <pc:docMk/>
            <pc:sldMk cId="3459780850" sldId="2141411853"/>
            <ac:spMk id="5" creationId="{DA2A2259-4F4E-26DA-7BDE-F5CD9909E75E}"/>
          </ac:spMkLst>
        </pc:spChg>
        <pc:spChg chg="del">
          <ac:chgData name="Gasteiger, Cassidy M" userId="49e4247d-81de-4625-ae16-f189e0b7e529" providerId="ADAL" clId="{EFB976C6-EC52-4602-90C8-86B8954E5255}" dt="2023-03-30T05:46:03.578" v="19899" actId="478"/>
          <ac:spMkLst>
            <pc:docMk/>
            <pc:sldMk cId="3459780850" sldId="2141411853"/>
            <ac:spMk id="6" creationId="{0F06F7C8-567A-E4E9-C41B-BA23767024B5}"/>
          </ac:spMkLst>
        </pc:spChg>
        <pc:spChg chg="del">
          <ac:chgData name="Gasteiger, Cassidy M" userId="49e4247d-81de-4625-ae16-f189e0b7e529" providerId="ADAL" clId="{EFB976C6-EC52-4602-90C8-86B8954E5255}" dt="2023-03-30T05:46:03.578" v="19899" actId="478"/>
          <ac:spMkLst>
            <pc:docMk/>
            <pc:sldMk cId="3459780850" sldId="2141411853"/>
            <ac:spMk id="7" creationId="{54B0EB23-5D84-255B-1028-9B5EAAE24DA4}"/>
          </ac:spMkLst>
        </pc:spChg>
        <pc:spChg chg="del">
          <ac:chgData name="Gasteiger, Cassidy M" userId="49e4247d-81de-4625-ae16-f189e0b7e529" providerId="ADAL" clId="{EFB976C6-EC52-4602-90C8-86B8954E5255}" dt="2023-03-30T05:46:03.578" v="19899" actId="478"/>
          <ac:spMkLst>
            <pc:docMk/>
            <pc:sldMk cId="3459780850" sldId="2141411853"/>
            <ac:spMk id="8" creationId="{A540E93E-8B22-9A0E-3885-A1987C89DBD7}"/>
          </ac:spMkLst>
        </pc:spChg>
        <pc:spChg chg="del">
          <ac:chgData name="Gasteiger, Cassidy M" userId="49e4247d-81de-4625-ae16-f189e0b7e529" providerId="ADAL" clId="{EFB976C6-EC52-4602-90C8-86B8954E5255}" dt="2023-03-30T05:46:03.578" v="19899" actId="478"/>
          <ac:spMkLst>
            <pc:docMk/>
            <pc:sldMk cId="3459780850" sldId="2141411853"/>
            <ac:spMk id="9" creationId="{0AF981F2-A335-FB1A-BCAA-7A9D7ECE3E5A}"/>
          </ac:spMkLst>
        </pc:spChg>
        <pc:spChg chg="del">
          <ac:chgData name="Gasteiger, Cassidy M" userId="49e4247d-81de-4625-ae16-f189e0b7e529" providerId="ADAL" clId="{EFB976C6-EC52-4602-90C8-86B8954E5255}" dt="2023-03-30T05:46:03.578" v="19899" actId="478"/>
          <ac:spMkLst>
            <pc:docMk/>
            <pc:sldMk cId="3459780850" sldId="2141411853"/>
            <ac:spMk id="10" creationId="{2116C77F-781E-809F-A16A-84C83A799442}"/>
          </ac:spMkLst>
        </pc:spChg>
        <pc:spChg chg="del">
          <ac:chgData name="Gasteiger, Cassidy M" userId="49e4247d-81de-4625-ae16-f189e0b7e529" providerId="ADAL" clId="{EFB976C6-EC52-4602-90C8-86B8954E5255}" dt="2023-03-30T15:40:11.611" v="23607" actId="478"/>
          <ac:spMkLst>
            <pc:docMk/>
            <pc:sldMk cId="3459780850" sldId="2141411853"/>
            <ac:spMk id="15" creationId="{BA2209B7-8AF5-5557-17B8-3556C02977DF}"/>
          </ac:spMkLst>
        </pc:spChg>
        <pc:spChg chg="del">
          <ac:chgData name="Gasteiger, Cassidy M" userId="49e4247d-81de-4625-ae16-f189e0b7e529" providerId="ADAL" clId="{EFB976C6-EC52-4602-90C8-86B8954E5255}" dt="2023-03-30T15:40:11.611" v="23607" actId="478"/>
          <ac:spMkLst>
            <pc:docMk/>
            <pc:sldMk cId="3459780850" sldId="2141411853"/>
            <ac:spMk id="17" creationId="{9B019CAA-CCA3-B713-CC3F-FB187DEAA948}"/>
          </ac:spMkLst>
        </pc:spChg>
        <pc:spChg chg="mod">
          <ac:chgData name="Gasteiger, Cassidy M" userId="49e4247d-81de-4625-ae16-f189e0b7e529" providerId="ADAL" clId="{EFB976C6-EC52-4602-90C8-86B8954E5255}" dt="2023-03-30T20:39:28.109" v="30022" actId="20577"/>
          <ac:spMkLst>
            <pc:docMk/>
            <pc:sldMk cId="3459780850" sldId="2141411853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30T22:26:35.814" v="32931"/>
          <ac:grpSpMkLst>
            <pc:docMk/>
            <pc:sldMk cId="3459780850" sldId="2141411853"/>
            <ac:grpSpMk id="2" creationId="{3DD34293-1608-1E47-088C-95F7CA460FBF}"/>
          </ac:grpSpMkLst>
        </pc:grpChg>
        <pc:graphicFrameChg chg="add mod modGraphic">
          <ac:chgData name="Gasteiger, Cassidy M" userId="49e4247d-81de-4625-ae16-f189e0b7e529" providerId="ADAL" clId="{EFB976C6-EC52-4602-90C8-86B8954E5255}" dt="2023-03-31T01:53:06" v="37292" actId="207"/>
          <ac:graphicFrameMkLst>
            <pc:docMk/>
            <pc:sldMk cId="3459780850" sldId="2141411853"/>
            <ac:graphicFrameMk id="18" creationId="{40F02B17-6CA3-6ECA-E138-1EFFE6EF748E}"/>
          </ac:graphicFrameMkLst>
        </pc:graphicFrameChg>
        <pc:picChg chg="del">
          <ac:chgData name="Gasteiger, Cassidy M" userId="49e4247d-81de-4625-ae16-f189e0b7e529" providerId="ADAL" clId="{EFB976C6-EC52-4602-90C8-86B8954E5255}" dt="2023-03-30T15:40:11.611" v="23607" actId="478"/>
          <ac:picMkLst>
            <pc:docMk/>
            <pc:sldMk cId="3459780850" sldId="2141411853"/>
            <ac:picMk id="16" creationId="{4D651F03-6150-6938-FF30-7F94BE79D3E1}"/>
          </ac:picMkLst>
        </pc:picChg>
        <pc:cxnChg chg="del mod">
          <ac:chgData name="Gasteiger, Cassidy M" userId="49e4247d-81de-4625-ae16-f189e0b7e529" providerId="ADAL" clId="{EFB976C6-EC52-4602-90C8-86B8954E5255}" dt="2023-03-30T05:46:03.578" v="19899" actId="478"/>
          <ac:cxnSpMkLst>
            <pc:docMk/>
            <pc:sldMk cId="3459780850" sldId="2141411853"/>
            <ac:cxnSpMk id="11" creationId="{3D2FFE1C-02BD-1F78-97D8-04BBC2D75931}"/>
          </ac:cxnSpMkLst>
        </pc:cxnChg>
        <pc:cxnChg chg="del">
          <ac:chgData name="Gasteiger, Cassidy M" userId="49e4247d-81de-4625-ae16-f189e0b7e529" providerId="ADAL" clId="{EFB976C6-EC52-4602-90C8-86B8954E5255}" dt="2023-03-30T05:46:03.578" v="19899" actId="478"/>
          <ac:cxnSpMkLst>
            <pc:docMk/>
            <pc:sldMk cId="3459780850" sldId="2141411853"/>
            <ac:cxnSpMk id="12" creationId="{D1E41B09-AD16-6AB0-E718-3AA7C4AE7EE7}"/>
          </ac:cxnSpMkLst>
        </pc:cxnChg>
        <pc:cxnChg chg="del">
          <ac:chgData name="Gasteiger, Cassidy M" userId="49e4247d-81de-4625-ae16-f189e0b7e529" providerId="ADAL" clId="{EFB976C6-EC52-4602-90C8-86B8954E5255}" dt="2023-03-30T05:46:03.578" v="19899" actId="478"/>
          <ac:cxnSpMkLst>
            <pc:docMk/>
            <pc:sldMk cId="3459780850" sldId="2141411853"/>
            <ac:cxnSpMk id="13" creationId="{9366CA94-19E4-76E6-1A2C-3418B975DFBB}"/>
          </ac:cxnSpMkLst>
        </pc:cxnChg>
        <pc:cxnChg chg="del">
          <ac:chgData name="Gasteiger, Cassidy M" userId="49e4247d-81de-4625-ae16-f189e0b7e529" providerId="ADAL" clId="{EFB976C6-EC52-4602-90C8-86B8954E5255}" dt="2023-03-30T05:46:03.578" v="19899" actId="478"/>
          <ac:cxnSpMkLst>
            <pc:docMk/>
            <pc:sldMk cId="3459780850" sldId="2141411853"/>
            <ac:cxnSpMk id="14" creationId="{2466EDAD-6898-FB30-FA5E-14FDEC41F62E}"/>
          </ac:cxnSpMkLst>
        </pc:cxnChg>
      </pc:sldChg>
      <pc:sldChg chg="addSp delSp modSp add mod ord addCm delCm">
        <pc:chgData name="Gasteiger, Cassidy M" userId="49e4247d-81de-4625-ae16-f189e0b7e529" providerId="ADAL" clId="{EFB976C6-EC52-4602-90C8-86B8954E5255}" dt="2023-03-31T03:31:46.414" v="41568" actId="14100"/>
        <pc:sldMkLst>
          <pc:docMk/>
          <pc:sldMk cId="180412202" sldId="2141411854"/>
        </pc:sldMkLst>
        <pc:spChg chg="add del mod">
          <ac:chgData name="Gasteiger, Cassidy M" userId="49e4247d-81de-4625-ae16-f189e0b7e529" providerId="ADAL" clId="{EFB976C6-EC52-4602-90C8-86B8954E5255}" dt="2023-03-31T02:20:36.356" v="39060" actId="478"/>
          <ac:spMkLst>
            <pc:docMk/>
            <pc:sldMk cId="180412202" sldId="2141411854"/>
            <ac:spMk id="2" creationId="{3B07946D-06EA-09C2-9E5A-FF377F299693}"/>
          </ac:spMkLst>
        </pc:spChg>
        <pc:spChg chg="add del mod">
          <ac:chgData name="Gasteiger, Cassidy M" userId="49e4247d-81de-4625-ae16-f189e0b7e529" providerId="ADAL" clId="{EFB976C6-EC52-4602-90C8-86B8954E5255}" dt="2023-03-30T07:04:55.572" v="20602" actId="478"/>
          <ac:spMkLst>
            <pc:docMk/>
            <pc:sldMk cId="180412202" sldId="2141411854"/>
            <ac:spMk id="2" creationId="{560E4A2E-D5DD-7DC0-C508-722D7C2B3C40}"/>
          </ac:spMkLst>
        </pc:spChg>
        <pc:spChg chg="add del mod">
          <ac:chgData name="Gasteiger, Cassidy M" userId="49e4247d-81de-4625-ae16-f189e0b7e529" providerId="ADAL" clId="{EFB976C6-EC52-4602-90C8-86B8954E5255}" dt="2023-03-31T02:19:55.846" v="39057" actId="478"/>
          <ac:spMkLst>
            <pc:docMk/>
            <pc:sldMk cId="180412202" sldId="2141411854"/>
            <ac:spMk id="4" creationId="{809343B0-E50A-F7FA-494F-AAE0D3CEEF82}"/>
          </ac:spMkLst>
        </pc:spChg>
        <pc:spChg chg="mod">
          <ac:chgData name="Gasteiger, Cassidy M" userId="49e4247d-81de-4625-ae16-f189e0b7e529" providerId="ADAL" clId="{EFB976C6-EC52-4602-90C8-86B8954E5255}" dt="2023-03-30T07:01:58.216" v="20261" actId="20577"/>
          <ac:spMkLst>
            <pc:docMk/>
            <pc:sldMk cId="180412202" sldId="2141411854"/>
            <ac:spMk id="6" creationId="{7C124A64-309C-B728-4201-B3C215BF08F0}"/>
          </ac:spMkLst>
        </pc:spChg>
        <pc:spChg chg="add del mod">
          <ac:chgData name="Gasteiger, Cassidy M" userId="49e4247d-81de-4625-ae16-f189e0b7e529" providerId="ADAL" clId="{EFB976C6-EC52-4602-90C8-86B8954E5255}" dt="2023-03-31T02:06:22.746" v="38335" actId="478"/>
          <ac:spMkLst>
            <pc:docMk/>
            <pc:sldMk cId="180412202" sldId="2141411854"/>
            <ac:spMk id="7" creationId="{15477A16-DE53-6D67-C637-5CF96F5A5E65}"/>
          </ac:spMkLst>
        </pc:spChg>
        <pc:spChg chg="mod">
          <ac:chgData name="Gasteiger, Cassidy M" userId="49e4247d-81de-4625-ae16-f189e0b7e529" providerId="ADAL" clId="{EFB976C6-EC52-4602-90C8-86B8954E5255}" dt="2023-03-30T07:07:03.215" v="20617" actId="20577"/>
          <ac:spMkLst>
            <pc:docMk/>
            <pc:sldMk cId="180412202" sldId="2141411854"/>
            <ac:spMk id="10" creationId="{DFA8F594-9088-61D9-CEC3-EBAF25E92FB5}"/>
          </ac:spMkLst>
        </pc:spChg>
        <pc:spChg chg="mod">
          <ac:chgData name="Gasteiger, Cassidy M" userId="49e4247d-81de-4625-ae16-f189e0b7e529" providerId="ADAL" clId="{EFB976C6-EC52-4602-90C8-86B8954E5255}" dt="2023-03-30T07:06:57.132" v="20613" actId="20577"/>
          <ac:spMkLst>
            <pc:docMk/>
            <pc:sldMk cId="180412202" sldId="2141411854"/>
            <ac:spMk id="11" creationId="{05B34CA0-E848-8128-7413-EA4DC963CD58}"/>
          </ac:spMkLst>
        </pc:spChg>
        <pc:spChg chg="add del mod">
          <ac:chgData name="Gasteiger, Cassidy M" userId="49e4247d-81de-4625-ae16-f189e0b7e529" providerId="ADAL" clId="{EFB976C6-EC52-4602-90C8-86B8954E5255}" dt="2023-03-30T19:25:51.475" v="28053" actId="478"/>
          <ac:spMkLst>
            <pc:docMk/>
            <pc:sldMk cId="180412202" sldId="2141411854"/>
            <ac:spMk id="14" creationId="{AC657A49-9703-2DD9-474A-AFCB0EC97505}"/>
          </ac:spMkLst>
        </pc:spChg>
        <pc:spChg chg="add del mod">
          <ac:chgData name="Gasteiger, Cassidy M" userId="49e4247d-81de-4625-ae16-f189e0b7e529" providerId="ADAL" clId="{EFB976C6-EC52-4602-90C8-86B8954E5255}" dt="2023-03-30T19:43:31.020" v="28135" actId="478"/>
          <ac:spMkLst>
            <pc:docMk/>
            <pc:sldMk cId="180412202" sldId="2141411854"/>
            <ac:spMk id="16" creationId="{27BCCCB7-1B05-2825-E867-754CEE15BE79}"/>
          </ac:spMkLst>
        </pc:spChg>
        <pc:spChg chg="mod">
          <ac:chgData name="Gasteiger, Cassidy M" userId="49e4247d-81de-4625-ae16-f189e0b7e529" providerId="ADAL" clId="{EFB976C6-EC52-4602-90C8-86B8954E5255}" dt="2023-03-31T02:06:06.157" v="38330"/>
          <ac:spMkLst>
            <pc:docMk/>
            <pc:sldMk cId="180412202" sldId="2141411854"/>
            <ac:spMk id="16" creationId="{FE00C23C-726D-8DB4-F545-3474B695669C}"/>
          </ac:spMkLst>
        </pc:spChg>
        <pc:spChg chg="mod">
          <ac:chgData name="Gasteiger, Cassidy M" userId="49e4247d-81de-4625-ae16-f189e0b7e529" providerId="ADAL" clId="{EFB976C6-EC52-4602-90C8-86B8954E5255}" dt="2023-03-31T02:06:06.157" v="38330"/>
          <ac:spMkLst>
            <pc:docMk/>
            <pc:sldMk cId="180412202" sldId="2141411854"/>
            <ac:spMk id="19" creationId="{077E4901-1B51-7DC6-0BCE-3AB3FF76481F}"/>
          </ac:spMkLst>
        </pc:spChg>
        <pc:spChg chg="mod">
          <ac:chgData name="Gasteiger, Cassidy M" userId="49e4247d-81de-4625-ae16-f189e0b7e529" providerId="ADAL" clId="{EFB976C6-EC52-4602-90C8-86B8954E5255}" dt="2023-03-30T21:51:19.940" v="32156"/>
          <ac:spMkLst>
            <pc:docMk/>
            <pc:sldMk cId="180412202" sldId="2141411854"/>
            <ac:spMk id="19" creationId="{73396404-6036-41F7-804A-96D1A1879EF5}"/>
          </ac:spMkLst>
        </pc:spChg>
        <pc:spChg chg="mod">
          <ac:chgData name="Gasteiger, Cassidy M" userId="49e4247d-81de-4625-ae16-f189e0b7e529" providerId="ADAL" clId="{EFB976C6-EC52-4602-90C8-86B8954E5255}" dt="2023-03-30T21:51:19.940" v="32156"/>
          <ac:spMkLst>
            <pc:docMk/>
            <pc:sldMk cId="180412202" sldId="2141411854"/>
            <ac:spMk id="20" creationId="{16AA364F-46AB-F62C-28D4-4E62273EA842}"/>
          </ac:spMkLst>
        </pc:spChg>
        <pc:spChg chg="mod">
          <ac:chgData name="Gasteiger, Cassidy M" userId="49e4247d-81de-4625-ae16-f189e0b7e529" providerId="ADAL" clId="{EFB976C6-EC52-4602-90C8-86B8954E5255}" dt="2023-03-30T21:51:58.525" v="32174"/>
          <ac:spMkLst>
            <pc:docMk/>
            <pc:sldMk cId="180412202" sldId="2141411854"/>
            <ac:spMk id="25" creationId="{0301D65E-0544-455F-6A48-E5D60BB8B0CA}"/>
          </ac:spMkLst>
        </pc:spChg>
        <pc:spChg chg="del mod">
          <ac:chgData name="Gasteiger, Cassidy M" userId="49e4247d-81de-4625-ae16-f189e0b7e529" providerId="ADAL" clId="{EFB976C6-EC52-4602-90C8-86B8954E5255}" dt="2023-03-31T02:06:12.726" v="38332" actId="478"/>
          <ac:spMkLst>
            <pc:docMk/>
            <pc:sldMk cId="180412202" sldId="2141411854"/>
            <ac:spMk id="27" creationId="{04638ED3-1536-3A78-1E41-B66E6DB44344}"/>
          </ac:spMkLst>
        </pc:spChg>
        <pc:spChg chg="mod">
          <ac:chgData name="Gasteiger, Cassidy M" userId="49e4247d-81de-4625-ae16-f189e0b7e529" providerId="ADAL" clId="{EFB976C6-EC52-4602-90C8-86B8954E5255}" dt="2023-03-30T21:51:58.525" v="32174"/>
          <ac:spMkLst>
            <pc:docMk/>
            <pc:sldMk cId="180412202" sldId="2141411854"/>
            <ac:spMk id="28" creationId="{232280A8-7C0D-40FF-072F-00A4F2EC73D0}"/>
          </ac:spMkLst>
        </pc:spChg>
        <pc:spChg chg="mod">
          <ac:chgData name="Gasteiger, Cassidy M" userId="49e4247d-81de-4625-ae16-f189e0b7e529" providerId="ADAL" clId="{EFB976C6-EC52-4602-90C8-86B8954E5255}" dt="2023-03-31T02:06:39.216" v="38346" actId="20577"/>
          <ac:spMkLst>
            <pc:docMk/>
            <pc:sldMk cId="180412202" sldId="2141411854"/>
            <ac:spMk id="29" creationId="{3D638F48-CED2-7F36-894D-576D1C96F8BB}"/>
          </ac:spMkLst>
        </pc:spChg>
        <pc:spChg chg="mod">
          <ac:chgData name="Gasteiger, Cassidy M" userId="49e4247d-81de-4625-ae16-f189e0b7e529" providerId="ADAL" clId="{EFB976C6-EC52-4602-90C8-86B8954E5255}" dt="2023-03-31T02:06:50.016" v="38348" actId="208"/>
          <ac:spMkLst>
            <pc:docMk/>
            <pc:sldMk cId="180412202" sldId="2141411854"/>
            <ac:spMk id="30" creationId="{B76A44E3-3FBA-99C2-B29B-5D25986FE564}"/>
          </ac:spMkLst>
        </pc:spChg>
        <pc:spChg chg="del">
          <ac:chgData name="Gasteiger, Cassidy M" userId="49e4247d-81de-4625-ae16-f189e0b7e529" providerId="ADAL" clId="{EFB976C6-EC52-4602-90C8-86B8954E5255}" dt="2023-03-31T02:04:09.187" v="38321" actId="478"/>
          <ac:spMkLst>
            <pc:docMk/>
            <pc:sldMk cId="180412202" sldId="2141411854"/>
            <ac:spMk id="31" creationId="{0B46D1E9-C3D8-6E13-EA92-3583FB01F01A}"/>
          </ac:spMkLst>
        </pc:spChg>
        <pc:spChg chg="mod">
          <ac:chgData name="Gasteiger, Cassidy M" userId="49e4247d-81de-4625-ae16-f189e0b7e529" providerId="ADAL" clId="{EFB976C6-EC52-4602-90C8-86B8954E5255}" dt="2023-03-31T02:06:06.157" v="38330"/>
          <ac:spMkLst>
            <pc:docMk/>
            <pc:sldMk cId="180412202" sldId="2141411854"/>
            <ac:spMk id="34" creationId="{D874C25E-A2A2-B504-5F28-F2C0470EEA34}"/>
          </ac:spMkLst>
        </pc:spChg>
        <pc:spChg chg="mod">
          <ac:chgData name="Gasteiger, Cassidy M" userId="49e4247d-81de-4625-ae16-f189e0b7e529" providerId="ADAL" clId="{EFB976C6-EC52-4602-90C8-86B8954E5255}" dt="2023-03-31T02:06:06.157" v="38330"/>
          <ac:spMkLst>
            <pc:docMk/>
            <pc:sldMk cId="180412202" sldId="2141411854"/>
            <ac:spMk id="35" creationId="{1917B75E-BE89-762D-6C15-71EF5CC81450}"/>
          </ac:spMkLst>
        </pc:spChg>
        <pc:spChg chg="mod">
          <ac:chgData name="Gasteiger, Cassidy M" userId="49e4247d-81de-4625-ae16-f189e0b7e529" providerId="ADAL" clId="{EFB976C6-EC52-4602-90C8-86B8954E5255}" dt="2023-03-31T02:06:06.157" v="38330"/>
          <ac:spMkLst>
            <pc:docMk/>
            <pc:sldMk cId="180412202" sldId="2141411854"/>
            <ac:spMk id="37" creationId="{DB3976A2-F068-BB94-F999-DFDAB9D12C40}"/>
          </ac:spMkLst>
        </pc:spChg>
        <pc:spChg chg="mod">
          <ac:chgData name="Gasteiger, Cassidy M" userId="49e4247d-81de-4625-ae16-f189e0b7e529" providerId="ADAL" clId="{EFB976C6-EC52-4602-90C8-86B8954E5255}" dt="2023-03-31T02:06:06.157" v="38330"/>
          <ac:spMkLst>
            <pc:docMk/>
            <pc:sldMk cId="180412202" sldId="2141411854"/>
            <ac:spMk id="38" creationId="{B21C124A-AE96-A4CD-DE63-66A23C55646A}"/>
          </ac:spMkLst>
        </pc:spChg>
        <pc:spChg chg="add mod ord">
          <ac:chgData name="Gasteiger, Cassidy M" userId="49e4247d-81de-4625-ae16-f189e0b7e529" providerId="ADAL" clId="{EFB976C6-EC52-4602-90C8-86B8954E5255}" dt="2023-03-31T02:12:41.891" v="38804" actId="167"/>
          <ac:spMkLst>
            <pc:docMk/>
            <pc:sldMk cId="180412202" sldId="2141411854"/>
            <ac:spMk id="40" creationId="{B0C7193F-A92F-DD16-BB1B-DE17097727A4}"/>
          </ac:spMkLst>
        </pc:spChg>
        <pc:spChg chg="add mod">
          <ac:chgData name="Gasteiger, Cassidy M" userId="49e4247d-81de-4625-ae16-f189e0b7e529" providerId="ADAL" clId="{EFB976C6-EC52-4602-90C8-86B8954E5255}" dt="2023-03-31T02:29:29.037" v="39517" actId="20577"/>
          <ac:spMkLst>
            <pc:docMk/>
            <pc:sldMk cId="180412202" sldId="2141411854"/>
            <ac:spMk id="41" creationId="{6C45E608-AEFC-82EC-60EB-3BC55C102005}"/>
          </ac:spMkLst>
        </pc:spChg>
        <pc:spChg chg="mod">
          <ac:chgData name="Gasteiger, Cassidy M" userId="49e4247d-81de-4625-ae16-f189e0b7e529" providerId="ADAL" clId="{EFB976C6-EC52-4602-90C8-86B8954E5255}" dt="2023-03-30T07:04:00.252" v="20298" actId="20577"/>
          <ac:spMkLst>
            <pc:docMk/>
            <pc:sldMk cId="180412202" sldId="2141411854"/>
            <ac:spMk id="72" creationId="{59EC09CD-1321-4E78-BB2B-743224ACC103}"/>
          </ac:spMkLst>
        </pc:spChg>
        <pc:spChg chg="mod">
          <ac:chgData name="Gasteiger, Cassidy M" userId="49e4247d-81de-4625-ae16-f189e0b7e529" providerId="ADAL" clId="{EFB976C6-EC52-4602-90C8-86B8954E5255}" dt="2023-03-31T02:47:54.543" v="41021" actId="20577"/>
          <ac:spMkLst>
            <pc:docMk/>
            <pc:sldMk cId="180412202" sldId="2141411854"/>
            <ac:spMk id="76" creationId="{EC9CD986-3A92-498D-8C81-062A9F1E26A3}"/>
          </ac:spMkLst>
        </pc:spChg>
        <pc:spChg chg="mod ord">
          <ac:chgData name="Gasteiger, Cassidy M" userId="49e4247d-81de-4625-ae16-f189e0b7e529" providerId="ADAL" clId="{EFB976C6-EC52-4602-90C8-86B8954E5255}" dt="2023-03-31T03:31:46.414" v="41568" actId="14100"/>
          <ac:spMkLst>
            <pc:docMk/>
            <pc:sldMk cId="180412202" sldId="2141411854"/>
            <ac:spMk id="77" creationId="{F9A867D8-6AEB-4F9B-9C85-DCAC046AB671}"/>
          </ac:spMkLst>
        </pc:spChg>
        <pc:spChg chg="mod ord">
          <ac:chgData name="Gasteiger, Cassidy M" userId="49e4247d-81de-4625-ae16-f189e0b7e529" providerId="ADAL" clId="{EFB976C6-EC52-4602-90C8-86B8954E5255}" dt="2023-03-31T02:29:16.111" v="39511" actId="167"/>
          <ac:spMkLst>
            <pc:docMk/>
            <pc:sldMk cId="180412202" sldId="2141411854"/>
            <ac:spMk id="81" creationId="{022B74DA-185F-47C9-9209-C3A125FC9963}"/>
          </ac:spMkLst>
        </pc:spChg>
        <pc:spChg chg="del">
          <ac:chgData name="Gasteiger, Cassidy M" userId="49e4247d-81de-4625-ae16-f189e0b7e529" providerId="ADAL" clId="{EFB976C6-EC52-4602-90C8-86B8954E5255}" dt="2023-03-31T02:04:07.786" v="38320" actId="478"/>
          <ac:spMkLst>
            <pc:docMk/>
            <pc:sldMk cId="180412202" sldId="2141411854"/>
            <ac:spMk id="85" creationId="{B2693CFF-6C22-4C92-B210-B55087FF9487}"/>
          </ac:spMkLst>
        </pc:spChg>
        <pc:grpChg chg="del mod">
          <ac:chgData name="Gasteiger, Cassidy M" userId="49e4247d-81de-4625-ae16-f189e0b7e529" providerId="ADAL" clId="{EFB976C6-EC52-4602-90C8-86B8954E5255}" dt="2023-03-31T02:29:38.016" v="39519" actId="478"/>
          <ac:grpSpMkLst>
            <pc:docMk/>
            <pc:sldMk cId="180412202" sldId="2141411854"/>
            <ac:grpSpMk id="3" creationId="{D786BB74-D258-4FAB-8E5F-8613DF204887}"/>
          </ac:grpSpMkLst>
        </pc:grpChg>
        <pc:grpChg chg="add del mod">
          <ac:chgData name="Gasteiger, Cassidy M" userId="49e4247d-81de-4625-ae16-f189e0b7e529" providerId="ADAL" clId="{EFB976C6-EC52-4602-90C8-86B8954E5255}" dt="2023-03-30T21:51:58.116" v="32173" actId="478"/>
          <ac:grpSpMkLst>
            <pc:docMk/>
            <pc:sldMk cId="180412202" sldId="2141411854"/>
            <ac:grpSpMk id="7" creationId="{9D5BD9D8-D334-05ED-C446-BBBDB9562E89}"/>
          </ac:grpSpMkLst>
        </pc:grpChg>
        <pc:grpChg chg="add mod">
          <ac:chgData name="Gasteiger, Cassidy M" userId="49e4247d-81de-4625-ae16-f189e0b7e529" providerId="ADAL" clId="{EFB976C6-EC52-4602-90C8-86B8954E5255}" dt="2023-03-31T02:06:32.427" v="38342" actId="164"/>
          <ac:grpSpMkLst>
            <pc:docMk/>
            <pc:sldMk cId="180412202" sldId="2141411854"/>
            <ac:grpSpMk id="14" creationId="{1CE83831-65C1-F493-547C-90DC249000AF}"/>
          </ac:grpSpMkLst>
        </pc:grpChg>
        <pc:grpChg chg="add mod">
          <ac:chgData name="Gasteiger, Cassidy M" userId="49e4247d-81de-4625-ae16-f189e0b7e529" providerId="ADAL" clId="{EFB976C6-EC52-4602-90C8-86B8954E5255}" dt="2023-03-31T02:06:32.427" v="38342" actId="164"/>
          <ac:grpSpMkLst>
            <pc:docMk/>
            <pc:sldMk cId="180412202" sldId="2141411854"/>
            <ac:grpSpMk id="20" creationId="{C920FE36-8C3D-2BAB-07B0-DDD39078A477}"/>
          </ac:grpSpMkLst>
        </pc:grpChg>
        <pc:grpChg chg="add mod">
          <ac:chgData name="Gasteiger, Cassidy M" userId="49e4247d-81de-4625-ae16-f189e0b7e529" providerId="ADAL" clId="{EFB976C6-EC52-4602-90C8-86B8954E5255}" dt="2023-03-30T21:51:58.525" v="32174"/>
          <ac:grpSpMkLst>
            <pc:docMk/>
            <pc:sldMk cId="180412202" sldId="2141411854"/>
            <ac:grpSpMk id="21" creationId="{CD36E0D8-B0F7-F32C-1B76-12F18BB50B50}"/>
          </ac:grpSpMkLst>
        </pc:grpChg>
        <pc:grpChg chg="add mod">
          <ac:chgData name="Gasteiger, Cassidy M" userId="49e4247d-81de-4625-ae16-f189e0b7e529" providerId="ADAL" clId="{EFB976C6-EC52-4602-90C8-86B8954E5255}" dt="2023-03-31T02:06:32.427" v="38342" actId="164"/>
          <ac:grpSpMkLst>
            <pc:docMk/>
            <pc:sldMk cId="180412202" sldId="2141411854"/>
            <ac:grpSpMk id="33" creationId="{CE2FCD68-9098-2705-70C7-B767CEB7B2C8}"/>
          </ac:grpSpMkLst>
        </pc:grpChg>
        <pc:grpChg chg="add mod">
          <ac:chgData name="Gasteiger, Cassidy M" userId="49e4247d-81de-4625-ae16-f189e0b7e529" providerId="ADAL" clId="{EFB976C6-EC52-4602-90C8-86B8954E5255}" dt="2023-03-31T02:06:32.427" v="38342" actId="164"/>
          <ac:grpSpMkLst>
            <pc:docMk/>
            <pc:sldMk cId="180412202" sldId="2141411854"/>
            <ac:grpSpMk id="36" creationId="{8B161290-92F3-5B51-CCA6-F99D92979727}"/>
          </ac:grpSpMkLst>
        </pc:grpChg>
        <pc:grpChg chg="add mod">
          <ac:chgData name="Gasteiger, Cassidy M" userId="49e4247d-81de-4625-ae16-f189e0b7e529" providerId="ADAL" clId="{EFB976C6-EC52-4602-90C8-86B8954E5255}" dt="2023-03-31T02:06:37.006" v="38343" actId="1076"/>
          <ac:grpSpMkLst>
            <pc:docMk/>
            <pc:sldMk cId="180412202" sldId="2141411854"/>
            <ac:grpSpMk id="39" creationId="{9415A93B-3610-FF62-E1F6-D711A0E39518}"/>
          </ac:grpSpMkLst>
        </pc:grpChg>
        <pc:graphicFrameChg chg="mod">
          <ac:chgData name="Gasteiger, Cassidy M" userId="49e4247d-81de-4625-ae16-f189e0b7e529" providerId="ADAL" clId="{EFB976C6-EC52-4602-90C8-86B8954E5255}" dt="2023-03-31T02:20:07.677" v="39058"/>
          <ac:graphicFrameMkLst>
            <pc:docMk/>
            <pc:sldMk cId="180412202" sldId="2141411854"/>
            <ac:graphicFrameMk id="13" creationId="{9C8A484B-75F8-A8A7-ED2A-FE32EFE46B65}"/>
          </ac:graphicFrameMkLst>
        </pc:graphicFrameChg>
        <pc:graphicFrameChg chg="modGraphic">
          <ac:chgData name="Gasteiger, Cassidy M" userId="49e4247d-81de-4625-ae16-f189e0b7e529" providerId="ADAL" clId="{EFB976C6-EC52-4602-90C8-86B8954E5255}" dt="2023-03-30T19:43:08.125" v="28133" actId="20577"/>
          <ac:graphicFrameMkLst>
            <pc:docMk/>
            <pc:sldMk cId="180412202" sldId="2141411854"/>
            <ac:graphicFrameMk id="17" creationId="{640AA33B-19AD-7D4E-8322-ACAE5A38B875}"/>
          </ac:graphicFrameMkLst>
        </pc:graphicFrameChg>
        <pc:graphicFrameChg chg="mod">
          <ac:chgData name="Gasteiger, Cassidy M" userId="49e4247d-81de-4625-ae16-f189e0b7e529" providerId="ADAL" clId="{EFB976C6-EC52-4602-90C8-86B8954E5255}" dt="2023-03-30T19:42:57.553" v="28105" actId="2085"/>
          <ac:graphicFrameMkLst>
            <pc:docMk/>
            <pc:sldMk cId="180412202" sldId="2141411854"/>
            <ac:graphicFrameMk id="18" creationId="{91EF8066-D8FA-9859-7703-A47166A52DBE}"/>
          </ac:graphicFrameMkLst>
        </pc:graphicFrameChg>
        <pc:picChg chg="add mod ord">
          <ac:chgData name="Gasteiger, Cassidy M" userId="49e4247d-81de-4625-ae16-f189e0b7e529" providerId="ADAL" clId="{EFB976C6-EC52-4602-90C8-86B8954E5255}" dt="2023-03-31T02:12:37.626" v="38803" actId="1035"/>
          <ac:picMkLst>
            <pc:docMk/>
            <pc:sldMk cId="180412202" sldId="2141411854"/>
            <ac:picMk id="5" creationId="{FD48AADB-D9A8-1B0F-2589-50E8CEC6E7C8}"/>
          </ac:picMkLst>
        </pc:picChg>
        <pc:picChg chg="del">
          <ac:chgData name="Gasteiger, Cassidy M" userId="49e4247d-81de-4625-ae16-f189e0b7e529" providerId="ADAL" clId="{EFB976C6-EC52-4602-90C8-86B8954E5255}" dt="2023-03-30T07:03:30.013" v="20282" actId="478"/>
          <ac:picMkLst>
            <pc:docMk/>
            <pc:sldMk cId="180412202" sldId="2141411854"/>
            <ac:picMk id="7" creationId="{BBC69057-35FC-DAFC-4C6E-1DA969DC317D}"/>
          </ac:picMkLst>
        </pc:picChg>
      </pc:sldChg>
      <pc:sldChg chg="modSp add del mod ord">
        <pc:chgData name="Gasteiger, Cassidy M" userId="49e4247d-81de-4625-ae16-f189e0b7e529" providerId="ADAL" clId="{EFB976C6-EC52-4602-90C8-86B8954E5255}" dt="2023-03-30T21:52:10.911" v="32177" actId="2696"/>
        <pc:sldMkLst>
          <pc:docMk/>
          <pc:sldMk cId="3382539193" sldId="2141411855"/>
        </pc:sldMkLst>
        <pc:spChg chg="mod">
          <ac:chgData name="Gasteiger, Cassidy M" userId="49e4247d-81de-4625-ae16-f189e0b7e529" providerId="ADAL" clId="{EFB976C6-EC52-4602-90C8-86B8954E5255}" dt="2023-03-30T07:08:56.155" v="20648" actId="20577"/>
          <ac:spMkLst>
            <pc:docMk/>
            <pc:sldMk cId="3382539193" sldId="2141411855"/>
            <ac:spMk id="2" creationId="{560E4A2E-D5DD-7DC0-C508-722D7C2B3C40}"/>
          </ac:spMkLst>
        </pc:spChg>
        <pc:spChg chg="mod">
          <ac:chgData name="Gasteiger, Cassidy M" userId="49e4247d-81de-4625-ae16-f189e0b7e529" providerId="ADAL" clId="{EFB976C6-EC52-4602-90C8-86B8954E5255}" dt="2023-03-30T07:02:12.248" v="20277" actId="20577"/>
          <ac:spMkLst>
            <pc:docMk/>
            <pc:sldMk cId="3382539193" sldId="2141411855"/>
            <ac:spMk id="6" creationId="{7C124A64-309C-B728-4201-B3C215BF08F0}"/>
          </ac:spMkLst>
        </pc:spChg>
      </pc:sldChg>
      <pc:sldChg chg="addSp delSp modSp add mod">
        <pc:chgData name="Gasteiger, Cassidy M" userId="49e4247d-81de-4625-ae16-f189e0b7e529" providerId="ADAL" clId="{EFB976C6-EC52-4602-90C8-86B8954E5255}" dt="2023-03-31T03:34:09.436" v="41571" actId="1076"/>
        <pc:sldMkLst>
          <pc:docMk/>
          <pc:sldMk cId="3470168251" sldId="2141411856"/>
        </pc:sldMkLst>
        <pc:spChg chg="add del mod">
          <ac:chgData name="Gasteiger, Cassidy M" userId="49e4247d-81de-4625-ae16-f189e0b7e529" providerId="ADAL" clId="{EFB976C6-EC52-4602-90C8-86B8954E5255}" dt="2023-03-30T16:23:21.625" v="25916"/>
          <ac:spMkLst>
            <pc:docMk/>
            <pc:sldMk cId="3470168251" sldId="2141411856"/>
            <ac:spMk id="3" creationId="{BEEA27B1-CC65-3832-C85E-D06CD101916F}"/>
          </ac:spMkLst>
        </pc:spChg>
        <pc:spChg chg="del">
          <ac:chgData name="Gasteiger, Cassidy M" userId="49e4247d-81de-4625-ae16-f189e0b7e529" providerId="ADAL" clId="{EFB976C6-EC52-4602-90C8-86B8954E5255}" dt="2023-03-30T16:23:00.528" v="25908" actId="478"/>
          <ac:spMkLst>
            <pc:docMk/>
            <pc:sldMk cId="3470168251" sldId="2141411856"/>
            <ac:spMk id="4" creationId="{C2DF1FD1-FD58-82FE-9778-93680BB733CB}"/>
          </ac:spMkLst>
        </pc:spChg>
        <pc:spChg chg="del">
          <ac:chgData name="Gasteiger, Cassidy M" userId="49e4247d-81de-4625-ae16-f189e0b7e529" providerId="ADAL" clId="{EFB976C6-EC52-4602-90C8-86B8954E5255}" dt="2023-03-30T16:23:04.047" v="25910" actId="478"/>
          <ac:spMkLst>
            <pc:docMk/>
            <pc:sldMk cId="3470168251" sldId="2141411856"/>
            <ac:spMk id="5" creationId="{E47952ED-EBBF-B9AD-2F20-14754713D026}"/>
          </ac:spMkLst>
        </pc:spChg>
        <pc:spChg chg="del">
          <ac:chgData name="Gasteiger, Cassidy M" userId="49e4247d-81de-4625-ae16-f189e0b7e529" providerId="ADAL" clId="{EFB976C6-EC52-4602-90C8-86B8954E5255}" dt="2023-03-30T16:22:59.408" v="25907" actId="478"/>
          <ac:spMkLst>
            <pc:docMk/>
            <pc:sldMk cId="3470168251" sldId="2141411856"/>
            <ac:spMk id="6" creationId="{177162DC-6B28-C82C-81CE-7769E6BDE440}"/>
          </ac:spMkLst>
        </pc:spChg>
        <pc:spChg chg="del">
          <ac:chgData name="Gasteiger, Cassidy M" userId="49e4247d-81de-4625-ae16-f189e0b7e529" providerId="ADAL" clId="{EFB976C6-EC52-4602-90C8-86B8954E5255}" dt="2023-03-30T16:23:04.047" v="25910" actId="478"/>
          <ac:spMkLst>
            <pc:docMk/>
            <pc:sldMk cId="3470168251" sldId="2141411856"/>
            <ac:spMk id="8" creationId="{516BDDB9-31B8-3B1C-A8CF-260F30F22C64}"/>
          </ac:spMkLst>
        </pc:spChg>
        <pc:spChg chg="del">
          <ac:chgData name="Gasteiger, Cassidy M" userId="49e4247d-81de-4625-ae16-f189e0b7e529" providerId="ADAL" clId="{EFB976C6-EC52-4602-90C8-86B8954E5255}" dt="2023-03-30T16:22:57.717" v="25906" actId="478"/>
          <ac:spMkLst>
            <pc:docMk/>
            <pc:sldMk cId="3470168251" sldId="2141411856"/>
            <ac:spMk id="10" creationId="{C37A9306-5BD1-3E9C-8EBB-DA55450FBDCF}"/>
          </ac:spMkLst>
        </pc:spChg>
        <pc:spChg chg="del">
          <ac:chgData name="Gasteiger, Cassidy M" userId="49e4247d-81de-4625-ae16-f189e0b7e529" providerId="ADAL" clId="{EFB976C6-EC52-4602-90C8-86B8954E5255}" dt="2023-03-30T16:23:05.087" v="25911" actId="478"/>
          <ac:spMkLst>
            <pc:docMk/>
            <pc:sldMk cId="3470168251" sldId="2141411856"/>
            <ac:spMk id="11" creationId="{06923068-5B34-3670-A2CB-22D96C160CF2}"/>
          </ac:spMkLst>
        </pc:spChg>
        <pc:spChg chg="add mod">
          <ac:chgData name="Gasteiger, Cassidy M" userId="49e4247d-81de-4625-ae16-f189e0b7e529" providerId="ADAL" clId="{EFB976C6-EC52-4602-90C8-86B8954E5255}" dt="2023-03-31T03:34:09.436" v="41571" actId="1076"/>
          <ac:spMkLst>
            <pc:docMk/>
            <pc:sldMk cId="3470168251" sldId="2141411856"/>
            <ac:spMk id="12" creationId="{88FFA5EE-FD30-FDA7-99ED-826549CB3946}"/>
          </ac:spMkLst>
        </pc:spChg>
        <pc:spChg chg="add mod">
          <ac:chgData name="Gasteiger, Cassidy M" userId="49e4247d-81de-4625-ae16-f189e0b7e529" providerId="ADAL" clId="{EFB976C6-EC52-4602-90C8-86B8954E5255}" dt="2023-03-31T03:34:09.436" v="41571" actId="1076"/>
          <ac:spMkLst>
            <pc:docMk/>
            <pc:sldMk cId="3470168251" sldId="2141411856"/>
            <ac:spMk id="13" creationId="{9CCBC16B-8136-2F2F-78C0-867CFBB55656}"/>
          </ac:spMkLst>
        </pc:spChg>
        <pc:spChg chg="add del mod">
          <ac:chgData name="Gasteiger, Cassidy M" userId="49e4247d-81de-4625-ae16-f189e0b7e529" providerId="ADAL" clId="{EFB976C6-EC52-4602-90C8-86B8954E5255}" dt="2023-03-31T01:53:52.797" v="37293" actId="478"/>
          <ac:spMkLst>
            <pc:docMk/>
            <pc:sldMk cId="3470168251" sldId="2141411856"/>
            <ac:spMk id="14" creationId="{FAB0C165-1590-928E-6C85-B5B234210652}"/>
          </ac:spMkLst>
        </pc:spChg>
        <pc:cxnChg chg="del">
          <ac:chgData name="Gasteiger, Cassidy M" userId="49e4247d-81de-4625-ae16-f189e0b7e529" providerId="ADAL" clId="{EFB976C6-EC52-4602-90C8-86B8954E5255}" dt="2023-03-30T16:23:01.711" v="25909" actId="478"/>
          <ac:cxnSpMkLst>
            <pc:docMk/>
            <pc:sldMk cId="3470168251" sldId="2141411856"/>
            <ac:cxnSpMk id="7" creationId="{B613F001-9438-CA18-D546-581AD73F391B}"/>
          </ac:cxnSpMkLst>
        </pc:cxnChg>
        <pc:cxnChg chg="del">
          <ac:chgData name="Gasteiger, Cassidy M" userId="49e4247d-81de-4625-ae16-f189e0b7e529" providerId="ADAL" clId="{EFB976C6-EC52-4602-90C8-86B8954E5255}" dt="2023-03-30T16:23:04.047" v="25910" actId="478"/>
          <ac:cxnSpMkLst>
            <pc:docMk/>
            <pc:sldMk cId="3470168251" sldId="2141411856"/>
            <ac:cxnSpMk id="9" creationId="{2A7C8967-F56E-D62C-A89C-32C7EEDE7C65}"/>
          </ac:cxnSpMkLst>
        </pc:cxnChg>
      </pc:sldChg>
      <pc:sldChg chg="addSp delSp modSp add del mod ord">
        <pc:chgData name="Gasteiger, Cassidy M" userId="49e4247d-81de-4625-ae16-f189e0b7e529" providerId="ADAL" clId="{EFB976C6-EC52-4602-90C8-86B8954E5255}" dt="2023-03-31T01:05:36.971" v="35107" actId="2696"/>
        <pc:sldMkLst>
          <pc:docMk/>
          <pc:sldMk cId="2468960156" sldId="2141411857"/>
        </pc:sldMkLst>
        <pc:spChg chg="add mod">
          <ac:chgData name="Gasteiger, Cassidy M" userId="49e4247d-81de-4625-ae16-f189e0b7e529" providerId="ADAL" clId="{EFB976C6-EC52-4602-90C8-86B8954E5255}" dt="2023-03-30T22:23:54.989" v="32802" actId="1076"/>
          <ac:spMkLst>
            <pc:docMk/>
            <pc:sldMk cId="2468960156" sldId="2141411857"/>
            <ac:spMk id="2" creationId="{86AEAE52-E441-B6EB-996B-10673E3A1FE7}"/>
          </ac:spMkLst>
        </pc:spChg>
        <pc:spChg chg="add mod">
          <ac:chgData name="Gasteiger, Cassidy M" userId="49e4247d-81de-4625-ae16-f189e0b7e529" providerId="ADAL" clId="{EFB976C6-EC52-4602-90C8-86B8954E5255}" dt="2023-03-30T22:23:54.989" v="32802" actId="1076"/>
          <ac:spMkLst>
            <pc:docMk/>
            <pc:sldMk cId="2468960156" sldId="2141411857"/>
            <ac:spMk id="4" creationId="{1F38D235-B7DD-1E4B-3591-7B04A7C2004C}"/>
          </ac:spMkLst>
        </pc:spChg>
        <pc:spChg chg="add mod">
          <ac:chgData name="Gasteiger, Cassidy M" userId="49e4247d-81de-4625-ae16-f189e0b7e529" providerId="ADAL" clId="{EFB976C6-EC52-4602-90C8-86B8954E5255}" dt="2023-03-30T22:23:54.989" v="32802" actId="1076"/>
          <ac:spMkLst>
            <pc:docMk/>
            <pc:sldMk cId="2468960156" sldId="2141411857"/>
            <ac:spMk id="5" creationId="{8D2A1007-F83B-52E4-3CE3-7B51981C675C}"/>
          </ac:spMkLst>
        </pc:spChg>
        <pc:spChg chg="mod">
          <ac:chgData name="Gasteiger, Cassidy M" userId="49e4247d-81de-4625-ae16-f189e0b7e529" providerId="ADAL" clId="{EFB976C6-EC52-4602-90C8-86B8954E5255}" dt="2023-03-30T19:20:42.863" v="27941" actId="20577"/>
          <ac:spMkLst>
            <pc:docMk/>
            <pc:sldMk cId="2468960156" sldId="2141411857"/>
            <ac:spMk id="6" creationId="{7C124A64-309C-B728-4201-B3C215BF08F0}"/>
          </ac:spMkLst>
        </pc:spChg>
        <pc:spChg chg="add mod">
          <ac:chgData name="Gasteiger, Cassidy M" userId="49e4247d-81de-4625-ae16-f189e0b7e529" providerId="ADAL" clId="{EFB976C6-EC52-4602-90C8-86B8954E5255}" dt="2023-03-30T22:23:54.989" v="32802" actId="1076"/>
          <ac:spMkLst>
            <pc:docMk/>
            <pc:sldMk cId="2468960156" sldId="2141411857"/>
            <ac:spMk id="14" creationId="{19F239AA-1F38-A0D1-1DCB-BCA1D59C370D}"/>
          </ac:spMkLst>
        </pc:spChg>
        <pc:spChg chg="add mod">
          <ac:chgData name="Gasteiger, Cassidy M" userId="49e4247d-81de-4625-ae16-f189e0b7e529" providerId="ADAL" clId="{EFB976C6-EC52-4602-90C8-86B8954E5255}" dt="2023-03-30T22:23:54.989" v="32802" actId="1076"/>
          <ac:spMkLst>
            <pc:docMk/>
            <pc:sldMk cId="2468960156" sldId="2141411857"/>
            <ac:spMk id="16" creationId="{27FA1B55-F64B-7F9B-23A0-F12FD9567E7C}"/>
          </ac:spMkLst>
        </pc:spChg>
        <pc:spChg chg="add mod">
          <ac:chgData name="Gasteiger, Cassidy M" userId="49e4247d-81de-4625-ae16-f189e0b7e529" providerId="ADAL" clId="{EFB976C6-EC52-4602-90C8-86B8954E5255}" dt="2023-03-30T22:23:54.989" v="32802" actId="1076"/>
          <ac:spMkLst>
            <pc:docMk/>
            <pc:sldMk cId="2468960156" sldId="2141411857"/>
            <ac:spMk id="19" creationId="{717A6387-2F2B-D6B2-E4D8-42118A52D4E7}"/>
          </ac:spMkLst>
        </pc:spChg>
        <pc:spChg chg="add mod">
          <ac:chgData name="Gasteiger, Cassidy M" userId="49e4247d-81de-4625-ae16-f189e0b7e529" providerId="ADAL" clId="{EFB976C6-EC52-4602-90C8-86B8954E5255}" dt="2023-03-31T00:51:52.535" v="34400" actId="1076"/>
          <ac:spMkLst>
            <pc:docMk/>
            <pc:sldMk cId="2468960156" sldId="2141411857"/>
            <ac:spMk id="21" creationId="{2134C2C2-57C0-6F66-2151-A80DDDD9AFEE}"/>
          </ac:spMkLst>
        </pc:spChg>
        <pc:spChg chg="add mod">
          <ac:chgData name="Gasteiger, Cassidy M" userId="49e4247d-81de-4625-ae16-f189e0b7e529" providerId="ADAL" clId="{EFB976C6-EC52-4602-90C8-86B8954E5255}" dt="2023-03-30T21:44:40.511" v="32010" actId="1076"/>
          <ac:spMkLst>
            <pc:docMk/>
            <pc:sldMk cId="2468960156" sldId="2141411857"/>
            <ac:spMk id="25" creationId="{745AD250-CCA6-047E-F755-D55D9DCEFC39}"/>
          </ac:spMkLst>
        </pc:spChg>
        <pc:spChg chg="mod">
          <ac:chgData name="Gasteiger, Cassidy M" userId="49e4247d-81de-4625-ae16-f189e0b7e529" providerId="ADAL" clId="{EFB976C6-EC52-4602-90C8-86B8954E5255}" dt="2023-03-30T22:28:37.996" v="33013" actId="14100"/>
          <ac:spMkLst>
            <pc:docMk/>
            <pc:sldMk cId="2468960156" sldId="2141411857"/>
            <ac:spMk id="27" creationId="{04638ED3-1536-3A78-1E41-B66E6DB44344}"/>
          </ac:spMkLst>
        </pc:spChg>
        <pc:spChg chg="mod">
          <ac:chgData name="Gasteiger, Cassidy M" userId="49e4247d-81de-4625-ae16-f189e0b7e529" providerId="ADAL" clId="{EFB976C6-EC52-4602-90C8-86B8954E5255}" dt="2023-03-30T21:51:17.648" v="32155"/>
          <ac:spMkLst>
            <pc:docMk/>
            <pc:sldMk cId="2468960156" sldId="2141411857"/>
            <ac:spMk id="29" creationId="{769907E3-FE38-04F6-CFE4-7205CAE02318}"/>
          </ac:spMkLst>
        </pc:spChg>
        <pc:spChg chg="mod">
          <ac:chgData name="Gasteiger, Cassidy M" userId="49e4247d-81de-4625-ae16-f189e0b7e529" providerId="ADAL" clId="{EFB976C6-EC52-4602-90C8-86B8954E5255}" dt="2023-03-30T21:51:17.648" v="32155"/>
          <ac:spMkLst>
            <pc:docMk/>
            <pc:sldMk cId="2468960156" sldId="2141411857"/>
            <ac:spMk id="30" creationId="{7A48F83A-9FA2-96AF-7701-9C6DEFFE4B3F}"/>
          </ac:spMkLst>
        </pc:spChg>
        <pc:spChg chg="mod">
          <ac:chgData name="Gasteiger, Cassidy M" userId="49e4247d-81de-4625-ae16-f189e0b7e529" providerId="ADAL" clId="{EFB976C6-EC52-4602-90C8-86B8954E5255}" dt="2023-03-30T21:51:54.635" v="32172"/>
          <ac:spMkLst>
            <pc:docMk/>
            <pc:sldMk cId="2468960156" sldId="2141411857"/>
            <ac:spMk id="34" creationId="{5B47FDC6-C5E5-CC5A-8248-D19E6E373F61}"/>
          </ac:spMkLst>
        </pc:spChg>
        <pc:spChg chg="mod">
          <ac:chgData name="Gasteiger, Cassidy M" userId="49e4247d-81de-4625-ae16-f189e0b7e529" providerId="ADAL" clId="{EFB976C6-EC52-4602-90C8-86B8954E5255}" dt="2023-03-30T21:51:54.635" v="32172"/>
          <ac:spMkLst>
            <pc:docMk/>
            <pc:sldMk cId="2468960156" sldId="2141411857"/>
            <ac:spMk id="35" creationId="{B0DFBA69-A366-8370-FD4B-6875FD747BD5}"/>
          </ac:spMkLst>
        </pc:spChg>
        <pc:spChg chg="mod">
          <ac:chgData name="Gasteiger, Cassidy M" userId="49e4247d-81de-4625-ae16-f189e0b7e529" providerId="ADAL" clId="{EFB976C6-EC52-4602-90C8-86B8954E5255}" dt="2023-03-30T21:43:01.105" v="31970" actId="165"/>
          <ac:spMkLst>
            <pc:docMk/>
            <pc:sldMk cId="2468960156" sldId="2141411857"/>
            <ac:spMk id="58" creationId="{5ED461B2-939E-47BC-9B50-0B84C68D05C8}"/>
          </ac:spMkLst>
        </pc:spChg>
        <pc:spChg chg="mod">
          <ac:chgData name="Gasteiger, Cassidy M" userId="49e4247d-81de-4625-ae16-f189e0b7e529" providerId="ADAL" clId="{EFB976C6-EC52-4602-90C8-86B8954E5255}" dt="2023-03-30T21:43:01.105" v="31970" actId="165"/>
          <ac:spMkLst>
            <pc:docMk/>
            <pc:sldMk cId="2468960156" sldId="2141411857"/>
            <ac:spMk id="59" creationId="{DE9E0CD5-CEE2-4DA3-8DA2-C39B7F20DA1E}"/>
          </ac:spMkLst>
        </pc:spChg>
        <pc:spChg chg="mod">
          <ac:chgData name="Gasteiger, Cassidy M" userId="49e4247d-81de-4625-ae16-f189e0b7e529" providerId="ADAL" clId="{EFB976C6-EC52-4602-90C8-86B8954E5255}" dt="2023-03-30T21:43:01.105" v="31970" actId="165"/>
          <ac:spMkLst>
            <pc:docMk/>
            <pc:sldMk cId="2468960156" sldId="2141411857"/>
            <ac:spMk id="60" creationId="{59661C72-48DA-4AF7-8B95-7ABBCEE5B389}"/>
          </ac:spMkLst>
        </pc:spChg>
        <pc:spChg chg="mod">
          <ac:chgData name="Gasteiger, Cassidy M" userId="49e4247d-81de-4625-ae16-f189e0b7e529" providerId="ADAL" clId="{EFB976C6-EC52-4602-90C8-86B8954E5255}" dt="2023-03-30T21:43:01.105" v="31970" actId="165"/>
          <ac:spMkLst>
            <pc:docMk/>
            <pc:sldMk cId="2468960156" sldId="2141411857"/>
            <ac:spMk id="61" creationId="{AB74C3A5-2ED1-427F-A553-3682A3B847DD}"/>
          </ac:spMkLst>
        </pc:spChg>
        <pc:spChg chg="mod">
          <ac:chgData name="Gasteiger, Cassidy M" userId="49e4247d-81de-4625-ae16-f189e0b7e529" providerId="ADAL" clId="{EFB976C6-EC52-4602-90C8-86B8954E5255}" dt="2023-03-30T21:43:01.105" v="31970" actId="165"/>
          <ac:spMkLst>
            <pc:docMk/>
            <pc:sldMk cId="2468960156" sldId="2141411857"/>
            <ac:spMk id="65" creationId="{3FE427A4-0426-48C5-96B3-C84165AC8A89}"/>
          </ac:spMkLst>
        </pc:spChg>
        <pc:spChg chg="mod">
          <ac:chgData name="Gasteiger, Cassidy M" userId="49e4247d-81de-4625-ae16-f189e0b7e529" providerId="ADAL" clId="{EFB976C6-EC52-4602-90C8-86B8954E5255}" dt="2023-03-30T21:43:01.105" v="31970" actId="165"/>
          <ac:spMkLst>
            <pc:docMk/>
            <pc:sldMk cId="2468960156" sldId="2141411857"/>
            <ac:spMk id="66" creationId="{3EB7D8AE-0AF6-408F-BE4D-B9080BED5123}"/>
          </ac:spMkLst>
        </pc:spChg>
        <pc:spChg chg="mod">
          <ac:chgData name="Gasteiger, Cassidy M" userId="49e4247d-81de-4625-ae16-f189e0b7e529" providerId="ADAL" clId="{EFB976C6-EC52-4602-90C8-86B8954E5255}" dt="2023-03-30T21:43:01.105" v="31970" actId="165"/>
          <ac:spMkLst>
            <pc:docMk/>
            <pc:sldMk cId="2468960156" sldId="2141411857"/>
            <ac:spMk id="67" creationId="{EC9ADC40-A8A2-40F9-9A8F-B6CC61638B19}"/>
          </ac:spMkLst>
        </pc:spChg>
        <pc:spChg chg="mod">
          <ac:chgData name="Gasteiger, Cassidy M" userId="49e4247d-81de-4625-ae16-f189e0b7e529" providerId="ADAL" clId="{EFB976C6-EC52-4602-90C8-86B8954E5255}" dt="2023-03-30T21:43:01.105" v="31970" actId="165"/>
          <ac:spMkLst>
            <pc:docMk/>
            <pc:sldMk cId="2468960156" sldId="2141411857"/>
            <ac:spMk id="68" creationId="{9E565163-6CCA-4289-8A15-07389DB32579}"/>
          </ac:spMkLst>
        </pc:spChg>
        <pc:spChg chg="mod">
          <ac:chgData name="Gasteiger, Cassidy M" userId="49e4247d-81de-4625-ae16-f189e0b7e529" providerId="ADAL" clId="{EFB976C6-EC52-4602-90C8-86B8954E5255}" dt="2023-03-30T19:23:35.252" v="28052" actId="20577"/>
          <ac:spMkLst>
            <pc:docMk/>
            <pc:sldMk cId="2468960156" sldId="2141411857"/>
            <ac:spMk id="72" creationId="{59EC09CD-1321-4E78-BB2B-743224ACC103}"/>
          </ac:spMkLst>
        </pc:spChg>
        <pc:spChg chg="add del mod topLvl">
          <ac:chgData name="Gasteiger, Cassidy M" userId="49e4247d-81de-4625-ae16-f189e0b7e529" providerId="ADAL" clId="{EFB976C6-EC52-4602-90C8-86B8954E5255}" dt="2023-03-30T21:43:47.571" v="31982" actId="20577"/>
          <ac:spMkLst>
            <pc:docMk/>
            <pc:sldMk cId="2468960156" sldId="2141411857"/>
            <ac:spMk id="106" creationId="{728CD11D-C6CE-40F0-ABC2-92A29DD44D7B}"/>
          </ac:spMkLst>
        </pc:spChg>
        <pc:grpChg chg="del">
          <ac:chgData name="Gasteiger, Cassidy M" userId="49e4247d-81de-4625-ae16-f189e0b7e529" providerId="ADAL" clId="{EFB976C6-EC52-4602-90C8-86B8954E5255}" dt="2023-03-30T21:43:01.105" v="31970" actId="165"/>
          <ac:grpSpMkLst>
            <pc:docMk/>
            <pc:sldMk cId="2468960156" sldId="2141411857"/>
            <ac:grpSpMk id="3" creationId="{D786BB74-D258-4FAB-8E5F-8613DF204887}"/>
          </ac:grpSpMkLst>
        </pc:grpChg>
        <pc:grpChg chg="add mod">
          <ac:chgData name="Gasteiger, Cassidy M" userId="49e4247d-81de-4625-ae16-f189e0b7e529" providerId="ADAL" clId="{EFB976C6-EC52-4602-90C8-86B8954E5255}" dt="2023-03-30T21:43:27.600" v="31977" actId="1076"/>
          <ac:grpSpMkLst>
            <pc:docMk/>
            <pc:sldMk cId="2468960156" sldId="2141411857"/>
            <ac:grpSpMk id="20" creationId="{F58316DB-EAEE-9980-51E3-5F78DFB16E8B}"/>
          </ac:grpSpMkLst>
        </pc:grpChg>
        <pc:grpChg chg="add del mod">
          <ac:chgData name="Gasteiger, Cassidy M" userId="49e4247d-81de-4625-ae16-f189e0b7e529" providerId="ADAL" clId="{EFB976C6-EC52-4602-90C8-86B8954E5255}" dt="2023-03-30T21:51:54.168" v="32171" actId="478"/>
          <ac:grpSpMkLst>
            <pc:docMk/>
            <pc:sldMk cId="2468960156" sldId="2141411857"/>
            <ac:grpSpMk id="28" creationId="{FAEDA98B-DF6E-F147-86CF-49F1774449D4}"/>
          </ac:grpSpMkLst>
        </pc:grpChg>
        <pc:grpChg chg="add mod">
          <ac:chgData name="Gasteiger, Cassidy M" userId="49e4247d-81de-4625-ae16-f189e0b7e529" providerId="ADAL" clId="{EFB976C6-EC52-4602-90C8-86B8954E5255}" dt="2023-03-30T21:51:54.635" v="32172"/>
          <ac:grpSpMkLst>
            <pc:docMk/>
            <pc:sldMk cId="2468960156" sldId="2141411857"/>
            <ac:grpSpMk id="33" creationId="{E0B632B6-E0C7-B2AF-9102-9B3614705505}"/>
          </ac:grpSpMkLst>
        </pc:grpChg>
        <pc:grpChg chg="mod topLvl">
          <ac:chgData name="Gasteiger, Cassidy M" userId="49e4247d-81de-4625-ae16-f189e0b7e529" providerId="ADAL" clId="{EFB976C6-EC52-4602-90C8-86B8954E5255}" dt="2023-03-30T21:43:24.640" v="31976" actId="164"/>
          <ac:grpSpMkLst>
            <pc:docMk/>
            <pc:sldMk cId="2468960156" sldId="2141411857"/>
            <ac:grpSpMk id="55" creationId="{6E294DC9-3D2D-43FC-88E0-A2C5EF8B0A14}"/>
          </ac:grpSpMkLst>
        </pc:grpChg>
        <pc:grpChg chg="mod">
          <ac:chgData name="Gasteiger, Cassidy M" userId="49e4247d-81de-4625-ae16-f189e0b7e529" providerId="ADAL" clId="{EFB976C6-EC52-4602-90C8-86B8954E5255}" dt="2023-03-30T21:43:01.105" v="31970" actId="165"/>
          <ac:grpSpMkLst>
            <pc:docMk/>
            <pc:sldMk cId="2468960156" sldId="2141411857"/>
            <ac:grpSpMk id="56" creationId="{81A2A58B-665E-42A8-BCAF-AEAA04DF7762}"/>
          </ac:grpSpMkLst>
        </pc:grpChg>
        <pc:grpChg chg="mod">
          <ac:chgData name="Gasteiger, Cassidy M" userId="49e4247d-81de-4625-ae16-f189e0b7e529" providerId="ADAL" clId="{EFB976C6-EC52-4602-90C8-86B8954E5255}" dt="2023-03-30T21:43:01.105" v="31970" actId="165"/>
          <ac:grpSpMkLst>
            <pc:docMk/>
            <pc:sldMk cId="2468960156" sldId="2141411857"/>
            <ac:grpSpMk id="57" creationId="{F9C103CA-A4E0-4A3D-AD44-F68A5A033056}"/>
          </ac:grpSpMkLst>
        </pc:grpChg>
        <pc:grpChg chg="mod topLvl">
          <ac:chgData name="Gasteiger, Cassidy M" userId="49e4247d-81de-4625-ae16-f189e0b7e529" providerId="ADAL" clId="{EFB976C6-EC52-4602-90C8-86B8954E5255}" dt="2023-03-30T21:43:24.640" v="31976" actId="164"/>
          <ac:grpSpMkLst>
            <pc:docMk/>
            <pc:sldMk cId="2468960156" sldId="2141411857"/>
            <ac:grpSpMk id="62" creationId="{B490BC8B-7117-4FF9-866A-696EDE7F834D}"/>
          </ac:grpSpMkLst>
        </pc:grpChg>
        <pc:grpChg chg="mod">
          <ac:chgData name="Gasteiger, Cassidy M" userId="49e4247d-81de-4625-ae16-f189e0b7e529" providerId="ADAL" clId="{EFB976C6-EC52-4602-90C8-86B8954E5255}" dt="2023-03-30T21:43:01.105" v="31970" actId="165"/>
          <ac:grpSpMkLst>
            <pc:docMk/>
            <pc:sldMk cId="2468960156" sldId="2141411857"/>
            <ac:grpSpMk id="63" creationId="{6E37621E-AED1-4FAE-97A8-83E9301E91E7}"/>
          </ac:grpSpMkLst>
        </pc:grpChg>
        <pc:grpChg chg="mod">
          <ac:chgData name="Gasteiger, Cassidy M" userId="49e4247d-81de-4625-ae16-f189e0b7e529" providerId="ADAL" clId="{EFB976C6-EC52-4602-90C8-86B8954E5255}" dt="2023-03-30T21:43:01.105" v="31970" actId="165"/>
          <ac:grpSpMkLst>
            <pc:docMk/>
            <pc:sldMk cId="2468960156" sldId="2141411857"/>
            <ac:grpSpMk id="64" creationId="{B0113D10-2DC8-4A82-A3B4-82B6E4575A9E}"/>
          </ac:grpSpMkLst>
        </pc:grpChg>
        <pc:picChg chg="del">
          <ac:chgData name="Gasteiger, Cassidy M" userId="49e4247d-81de-4625-ae16-f189e0b7e529" providerId="ADAL" clId="{EFB976C6-EC52-4602-90C8-86B8954E5255}" dt="2023-03-30T22:23:19.016" v="32791" actId="478"/>
          <ac:picMkLst>
            <pc:docMk/>
            <pc:sldMk cId="2468960156" sldId="2141411857"/>
            <ac:picMk id="7" creationId="{BBC69057-35FC-DAFC-4C6E-1DA969DC317D}"/>
          </ac:picMkLst>
        </pc:picChg>
        <pc:picChg chg="add mod">
          <ac:chgData name="Gasteiger, Cassidy M" userId="49e4247d-81de-4625-ae16-f189e0b7e529" providerId="ADAL" clId="{EFB976C6-EC52-4602-90C8-86B8954E5255}" dt="2023-03-30T22:23:45.078" v="32801" actId="14100"/>
          <ac:picMkLst>
            <pc:docMk/>
            <pc:sldMk cId="2468960156" sldId="2141411857"/>
            <ac:picMk id="28" creationId="{703A3EB6-D430-82B7-6169-0DF8346CE567}"/>
          </ac:picMkLst>
        </pc:picChg>
      </pc:sldChg>
      <pc:sldChg chg="modSp add del mod">
        <pc:chgData name="Gasteiger, Cassidy M" userId="49e4247d-81de-4625-ae16-f189e0b7e529" providerId="ADAL" clId="{EFB976C6-EC52-4602-90C8-86B8954E5255}" dt="2023-03-30T20:12:24.013" v="28825" actId="2696"/>
        <pc:sldMkLst>
          <pc:docMk/>
          <pc:sldMk cId="1692561630" sldId="2141411858"/>
        </pc:sldMkLst>
        <pc:spChg chg="mod">
          <ac:chgData name="Gasteiger, Cassidy M" userId="49e4247d-81de-4625-ae16-f189e0b7e529" providerId="ADAL" clId="{EFB976C6-EC52-4602-90C8-86B8954E5255}" dt="2023-03-30T20:12:03.845" v="28791" actId="20577"/>
          <ac:spMkLst>
            <pc:docMk/>
            <pc:sldMk cId="1692561630" sldId="2141411858"/>
            <ac:spMk id="235" creationId="{00000000-0000-0000-0000-000000000000}"/>
          </ac:spMkLst>
        </pc:spChg>
      </pc:sldChg>
      <pc:sldChg chg="addSp delSp modSp add del mod ord">
        <pc:chgData name="Gasteiger, Cassidy M" userId="49e4247d-81de-4625-ae16-f189e0b7e529" providerId="ADAL" clId="{EFB976C6-EC52-4602-90C8-86B8954E5255}" dt="2023-03-31T03:39:36.176" v="41651" actId="2696"/>
        <pc:sldMkLst>
          <pc:docMk/>
          <pc:sldMk cId="613632464" sldId="2141411859"/>
        </pc:sldMkLst>
        <pc:spChg chg="add del mod">
          <ac:chgData name="Gasteiger, Cassidy M" userId="49e4247d-81de-4625-ae16-f189e0b7e529" providerId="ADAL" clId="{EFB976C6-EC52-4602-90C8-86B8954E5255}" dt="2023-03-31T02:34:06.888" v="39535" actId="478"/>
          <ac:spMkLst>
            <pc:docMk/>
            <pc:sldMk cId="613632464" sldId="2141411859"/>
            <ac:spMk id="4" creationId="{7B688DB7-0433-86E0-159A-C6A897626032}"/>
          </ac:spMkLst>
        </pc:spChg>
        <pc:spChg chg="mod">
          <ac:chgData name="Gasteiger, Cassidy M" userId="49e4247d-81de-4625-ae16-f189e0b7e529" providerId="ADAL" clId="{EFB976C6-EC52-4602-90C8-86B8954E5255}" dt="2023-03-31T02:36:30.298" v="40026" actId="20577"/>
          <ac:spMkLst>
            <pc:docMk/>
            <pc:sldMk cId="613632464" sldId="2141411859"/>
            <ac:spMk id="8" creationId="{94B10EA8-7CEF-C026-AE6D-0C98CA26526E}"/>
          </ac:spMkLst>
        </pc:spChg>
        <pc:spChg chg="mod">
          <ac:chgData name="Gasteiger, Cassidy M" userId="49e4247d-81de-4625-ae16-f189e0b7e529" providerId="ADAL" clId="{EFB976C6-EC52-4602-90C8-86B8954E5255}" dt="2023-03-30T20:12:51.213" v="28880" actId="20577"/>
          <ac:spMkLst>
            <pc:docMk/>
            <pc:sldMk cId="613632464" sldId="2141411859"/>
            <ac:spMk id="235" creationId="{00000000-0000-0000-0000-000000000000}"/>
          </ac:spMkLst>
        </pc:spChg>
        <pc:picChg chg="del">
          <ac:chgData name="Gasteiger, Cassidy M" userId="49e4247d-81de-4625-ae16-f189e0b7e529" providerId="ADAL" clId="{EFB976C6-EC52-4602-90C8-86B8954E5255}" dt="2023-03-30T20:12:20.734" v="28824" actId="478"/>
          <ac:picMkLst>
            <pc:docMk/>
            <pc:sldMk cId="613632464" sldId="2141411859"/>
            <ac:picMk id="2" creationId="{12DA31AB-EC08-D80B-EED4-9D07D7DE4289}"/>
          </ac:picMkLst>
        </pc:picChg>
        <pc:picChg chg="add mod">
          <ac:chgData name="Gasteiger, Cassidy M" userId="49e4247d-81de-4625-ae16-f189e0b7e529" providerId="ADAL" clId="{EFB976C6-EC52-4602-90C8-86B8954E5255}" dt="2023-03-31T02:35:14.192" v="39678" actId="14100"/>
          <ac:picMkLst>
            <pc:docMk/>
            <pc:sldMk cId="613632464" sldId="2141411859"/>
            <ac:picMk id="5" creationId="{150C5913-275B-1D38-3887-910A6B4E0A04}"/>
          </ac:picMkLst>
        </pc:picChg>
        <pc:cxnChg chg="mod">
          <ac:chgData name="Gasteiger, Cassidy M" userId="49e4247d-81de-4625-ae16-f189e0b7e529" providerId="ADAL" clId="{EFB976C6-EC52-4602-90C8-86B8954E5255}" dt="2023-03-31T02:35:10.237" v="39677" actId="1076"/>
          <ac:cxnSpMkLst>
            <pc:docMk/>
            <pc:sldMk cId="613632464" sldId="2141411859"/>
            <ac:cxnSpMk id="10" creationId="{42AE90B6-DF18-C891-CCA3-972472E726A2}"/>
          </ac:cxnSpMkLst>
        </pc:cxnChg>
      </pc:sldChg>
      <pc:sldChg chg="add">
        <pc:chgData name="Gasteiger, Cassidy M" userId="49e4247d-81de-4625-ae16-f189e0b7e529" providerId="ADAL" clId="{EFB976C6-EC52-4602-90C8-86B8954E5255}" dt="2023-03-31T03:39:42.016" v="41652"/>
        <pc:sldMkLst>
          <pc:docMk/>
          <pc:sldMk cId="3167821932" sldId="2141411859"/>
        </pc:sldMkLst>
      </pc:sldChg>
      <pc:sldChg chg="addSp delSp modSp add del mod ord">
        <pc:chgData name="Gasteiger, Cassidy M" userId="49e4247d-81de-4625-ae16-f189e0b7e529" providerId="ADAL" clId="{EFB976C6-EC52-4602-90C8-86B8954E5255}" dt="2023-03-31T03:33:57.767" v="41570" actId="2696"/>
        <pc:sldMkLst>
          <pc:docMk/>
          <pc:sldMk cId="2933008003" sldId="2141411860"/>
        </pc:sldMkLst>
        <pc:spChg chg="add del mod">
          <ac:chgData name="Gasteiger, Cassidy M" userId="49e4247d-81de-4625-ae16-f189e0b7e529" providerId="ADAL" clId="{EFB976C6-EC52-4602-90C8-86B8954E5255}" dt="2023-03-31T01:44:16.996" v="36298" actId="14100"/>
          <ac:spMkLst>
            <pc:docMk/>
            <pc:sldMk cId="2933008003" sldId="2141411860"/>
            <ac:spMk id="4" creationId="{7B688DB7-0433-86E0-159A-C6A897626032}"/>
          </ac:spMkLst>
        </pc:spChg>
        <pc:spChg chg="add del">
          <ac:chgData name="Gasteiger, Cassidy M" userId="49e4247d-81de-4625-ae16-f189e0b7e529" providerId="ADAL" clId="{EFB976C6-EC52-4602-90C8-86B8954E5255}" dt="2023-03-30T20:31:42.124" v="29850" actId="22"/>
          <ac:spMkLst>
            <pc:docMk/>
            <pc:sldMk cId="2933008003" sldId="2141411860"/>
            <ac:spMk id="5" creationId="{47942862-92C4-8860-8142-A3173F7D3003}"/>
          </ac:spMkLst>
        </pc:spChg>
        <pc:spChg chg="mod">
          <ac:chgData name="Gasteiger, Cassidy M" userId="49e4247d-81de-4625-ae16-f189e0b7e529" providerId="ADAL" clId="{EFB976C6-EC52-4602-90C8-86B8954E5255}" dt="2023-03-31T01:44:50.064" v="36303" actId="20577"/>
          <ac:spMkLst>
            <pc:docMk/>
            <pc:sldMk cId="2933008003" sldId="2141411860"/>
            <ac:spMk id="5" creationId="{AD3FD417-FBF6-9CC3-B202-6D3FBB657EA8}"/>
          </ac:spMkLst>
        </pc:spChg>
        <pc:spChg chg="mod">
          <ac:chgData name="Gasteiger, Cassidy M" userId="49e4247d-81de-4625-ae16-f189e0b7e529" providerId="ADAL" clId="{EFB976C6-EC52-4602-90C8-86B8954E5255}" dt="2023-03-31T01:44:55.124" v="36319" actId="20577"/>
          <ac:spMkLst>
            <pc:docMk/>
            <pc:sldMk cId="2933008003" sldId="2141411860"/>
            <ac:spMk id="7" creationId="{543B9117-65C6-EA00-86EF-04DD248F522F}"/>
          </ac:spMkLst>
        </pc:spChg>
        <pc:spChg chg="del">
          <ac:chgData name="Gasteiger, Cassidy M" userId="49e4247d-81de-4625-ae16-f189e0b7e529" providerId="ADAL" clId="{EFB976C6-EC52-4602-90C8-86B8954E5255}" dt="2023-03-31T01:34:32.716" v="35335" actId="478"/>
          <ac:spMkLst>
            <pc:docMk/>
            <pc:sldMk cId="2933008003" sldId="2141411860"/>
            <ac:spMk id="8" creationId="{94B10EA8-7CEF-C026-AE6D-0C98CA26526E}"/>
          </ac:spMkLst>
        </pc:spChg>
        <pc:spChg chg="add mod">
          <ac:chgData name="Gasteiger, Cassidy M" userId="49e4247d-81de-4625-ae16-f189e0b7e529" providerId="ADAL" clId="{EFB976C6-EC52-4602-90C8-86B8954E5255}" dt="2023-03-31T01:36:25.680" v="35372" actId="1076"/>
          <ac:spMkLst>
            <pc:docMk/>
            <pc:sldMk cId="2933008003" sldId="2141411860"/>
            <ac:spMk id="9" creationId="{8B6BCEB8-E393-E946-85E4-58619E7912BF}"/>
          </ac:spMkLst>
        </pc:spChg>
        <pc:spChg chg="mod">
          <ac:chgData name="Gasteiger, Cassidy M" userId="49e4247d-81de-4625-ae16-f189e0b7e529" providerId="ADAL" clId="{EFB976C6-EC52-4602-90C8-86B8954E5255}" dt="2023-03-31T01:45:05.046" v="36323" actId="20577"/>
          <ac:spMkLst>
            <pc:docMk/>
            <pc:sldMk cId="2933008003" sldId="2141411860"/>
            <ac:spMk id="14" creationId="{48534F24-5CAD-A4AF-A351-7030856B0570}"/>
          </ac:spMkLst>
        </pc:spChg>
        <pc:spChg chg="mod">
          <ac:chgData name="Gasteiger, Cassidy M" userId="49e4247d-81de-4625-ae16-f189e0b7e529" providerId="ADAL" clId="{EFB976C6-EC52-4602-90C8-86B8954E5255}" dt="2023-03-31T01:44:59.816" v="36320"/>
          <ac:spMkLst>
            <pc:docMk/>
            <pc:sldMk cId="2933008003" sldId="2141411860"/>
            <ac:spMk id="16" creationId="{6CDB6B96-F46E-D5BF-2DB7-4E34C68585CE}"/>
          </ac:spMkLst>
        </pc:spChg>
        <pc:spChg chg="mod">
          <ac:chgData name="Gasteiger, Cassidy M" userId="49e4247d-81de-4625-ae16-f189e0b7e529" providerId="ADAL" clId="{EFB976C6-EC52-4602-90C8-86B8954E5255}" dt="2023-03-31T01:34:39.736" v="35359" actId="20577"/>
          <ac:spMkLst>
            <pc:docMk/>
            <pc:sldMk cId="2933008003" sldId="2141411860"/>
            <ac:spMk id="235" creationId="{00000000-0000-0000-0000-000000000000}"/>
          </ac:spMkLst>
        </pc:spChg>
        <pc:grpChg chg="add mod">
          <ac:chgData name="Gasteiger, Cassidy M" userId="49e4247d-81de-4625-ae16-f189e0b7e529" providerId="ADAL" clId="{EFB976C6-EC52-4602-90C8-86B8954E5255}" dt="2023-03-31T01:45:21.556" v="36324" actId="1076"/>
          <ac:grpSpMkLst>
            <pc:docMk/>
            <pc:sldMk cId="2933008003" sldId="2141411860"/>
            <ac:grpSpMk id="2" creationId="{37118010-20B3-E267-6DE1-0E8A7D71FB43}"/>
          </ac:grpSpMkLst>
        </pc:grpChg>
        <pc:grpChg chg="add mod">
          <ac:chgData name="Gasteiger, Cassidy M" userId="49e4247d-81de-4625-ae16-f189e0b7e529" providerId="ADAL" clId="{EFB976C6-EC52-4602-90C8-86B8954E5255}" dt="2023-03-31T01:45:21.556" v="36324" actId="1076"/>
          <ac:grpSpMkLst>
            <pc:docMk/>
            <pc:sldMk cId="2933008003" sldId="2141411860"/>
            <ac:grpSpMk id="13" creationId="{A0CA1493-AC90-3C54-DAA6-F19DC3A2767F}"/>
          </ac:grpSpMkLst>
        </pc:grpChg>
        <pc:cxnChg chg="mod">
          <ac:chgData name="Gasteiger, Cassidy M" userId="49e4247d-81de-4625-ae16-f189e0b7e529" providerId="ADAL" clId="{EFB976C6-EC52-4602-90C8-86B8954E5255}" dt="2023-03-31T01:36:10.406" v="35361"/>
          <ac:cxnSpMkLst>
            <pc:docMk/>
            <pc:sldMk cId="2933008003" sldId="2141411860"/>
            <ac:cxnSpMk id="6" creationId="{31036D5E-C4CC-9B3F-C0AA-5AF64B650CE5}"/>
          </ac:cxnSpMkLst>
        </pc:cxnChg>
        <pc:cxnChg chg="del">
          <ac:chgData name="Gasteiger, Cassidy M" userId="49e4247d-81de-4625-ae16-f189e0b7e529" providerId="ADAL" clId="{EFB976C6-EC52-4602-90C8-86B8954E5255}" dt="2023-03-31T01:34:34.566" v="35336" actId="478"/>
          <ac:cxnSpMkLst>
            <pc:docMk/>
            <pc:sldMk cId="2933008003" sldId="2141411860"/>
            <ac:cxnSpMk id="10" creationId="{42AE90B6-DF18-C891-CCA3-972472E726A2}"/>
          </ac:cxnSpMkLst>
        </pc:cxnChg>
        <pc:cxnChg chg="mod">
          <ac:chgData name="Gasteiger, Cassidy M" userId="49e4247d-81de-4625-ae16-f189e0b7e529" providerId="ADAL" clId="{EFB976C6-EC52-4602-90C8-86B8954E5255}" dt="2023-03-31T01:44:59.816" v="36320"/>
          <ac:cxnSpMkLst>
            <pc:docMk/>
            <pc:sldMk cId="2933008003" sldId="2141411860"/>
            <ac:cxnSpMk id="15" creationId="{3C5076A2-72E7-6568-BF23-17CF1A40F9E6}"/>
          </ac:cxnSpMkLst>
        </pc:cxnChg>
      </pc:sldChg>
      <pc:sldChg chg="modSp add mod ord">
        <pc:chgData name="Gasteiger, Cassidy M" userId="49e4247d-81de-4625-ae16-f189e0b7e529" providerId="ADAL" clId="{EFB976C6-EC52-4602-90C8-86B8954E5255}" dt="2023-03-31T03:36:53.864" v="41625"/>
        <pc:sldMkLst>
          <pc:docMk/>
          <pc:sldMk cId="388332022" sldId="2141411861"/>
        </pc:sldMkLst>
        <pc:spChg chg="mod">
          <ac:chgData name="Gasteiger, Cassidy M" userId="49e4247d-81de-4625-ae16-f189e0b7e529" providerId="ADAL" clId="{EFB976C6-EC52-4602-90C8-86B8954E5255}" dt="2023-03-30T20:40:31.488" v="30037" actId="207"/>
          <ac:spMkLst>
            <pc:docMk/>
            <pc:sldMk cId="388332022" sldId="2141411861"/>
            <ac:spMk id="10" creationId="{29980911-3E67-8701-4E55-CD8978F98F6A}"/>
          </ac:spMkLst>
        </pc:spChg>
        <pc:spChg chg="mod">
          <ac:chgData name="Gasteiger, Cassidy M" userId="49e4247d-81de-4625-ae16-f189e0b7e529" providerId="ADAL" clId="{EFB976C6-EC52-4602-90C8-86B8954E5255}" dt="2023-03-30T20:40:27.924" v="30036" actId="207"/>
          <ac:spMkLst>
            <pc:docMk/>
            <pc:sldMk cId="388332022" sldId="2141411861"/>
            <ac:spMk id="15" creationId="{1AE94B59-9087-3A30-3ED4-D89E737D2B60}"/>
          </ac:spMkLst>
        </pc:spChg>
        <pc:spChg chg="mod">
          <ac:chgData name="Gasteiger, Cassidy M" userId="49e4247d-81de-4625-ae16-f189e0b7e529" providerId="ADAL" clId="{EFB976C6-EC52-4602-90C8-86B8954E5255}" dt="2023-03-31T03:36:51.995" v="41624" actId="20577"/>
          <ac:spMkLst>
            <pc:docMk/>
            <pc:sldMk cId="388332022" sldId="2141411861"/>
            <ac:spMk id="18" creationId="{01C5DA3C-9EBB-5B5B-CC2D-58F1CFB12BBB}"/>
          </ac:spMkLst>
        </pc:spChg>
        <pc:spChg chg="mod">
          <ac:chgData name="Gasteiger, Cassidy M" userId="49e4247d-81de-4625-ae16-f189e0b7e529" providerId="ADAL" clId="{EFB976C6-EC52-4602-90C8-86B8954E5255}" dt="2023-03-31T03:36:53.864" v="41625"/>
          <ac:spMkLst>
            <pc:docMk/>
            <pc:sldMk cId="388332022" sldId="2141411861"/>
            <ac:spMk id="20" creationId="{89BAC1AB-EB28-1CB4-BF7F-CD04671B2342}"/>
          </ac:spMkLst>
        </pc:spChg>
      </pc:sldChg>
      <pc:sldChg chg="modSp add del mod ord">
        <pc:chgData name="Gasteiger, Cassidy M" userId="49e4247d-81de-4625-ae16-f189e0b7e529" providerId="ADAL" clId="{EFB976C6-EC52-4602-90C8-86B8954E5255}" dt="2023-03-31T03:37:37.039" v="41635" actId="2696"/>
        <pc:sldMkLst>
          <pc:docMk/>
          <pc:sldMk cId="2059552591" sldId="2141411862"/>
        </pc:sldMkLst>
        <pc:spChg chg="mod">
          <ac:chgData name="Gasteiger, Cassidy M" userId="49e4247d-81de-4625-ae16-f189e0b7e529" providerId="ADAL" clId="{EFB976C6-EC52-4602-90C8-86B8954E5255}" dt="2023-03-30T20:40:54.155" v="30041" actId="207"/>
          <ac:spMkLst>
            <pc:docMk/>
            <pc:sldMk cId="2059552591" sldId="2141411862"/>
            <ac:spMk id="15" creationId="{1AE94B59-9087-3A30-3ED4-D89E737D2B60}"/>
          </ac:spMkLst>
        </pc:spChg>
        <pc:spChg chg="mod">
          <ac:chgData name="Gasteiger, Cassidy M" userId="49e4247d-81de-4625-ae16-f189e0b7e529" providerId="ADAL" clId="{EFB976C6-EC52-4602-90C8-86B8954E5255}" dt="2023-03-30T20:40:58.248" v="30042" actId="207"/>
          <ac:spMkLst>
            <pc:docMk/>
            <pc:sldMk cId="2059552591" sldId="2141411862"/>
            <ac:spMk id="17" creationId="{EE3D9B4D-EF3A-89E3-35C8-548C7C288FF7}"/>
          </ac:spMkLst>
        </pc:spChg>
      </pc:sldChg>
      <pc:sldChg chg="modSp add del mod ord">
        <pc:chgData name="Gasteiger, Cassidy M" userId="49e4247d-81de-4625-ae16-f189e0b7e529" providerId="ADAL" clId="{EFB976C6-EC52-4602-90C8-86B8954E5255}" dt="2023-03-31T03:38:24.005" v="41642" actId="2696"/>
        <pc:sldMkLst>
          <pc:docMk/>
          <pc:sldMk cId="3207582910" sldId="2141411863"/>
        </pc:sldMkLst>
        <pc:spChg chg="mod">
          <ac:chgData name="Gasteiger, Cassidy M" userId="49e4247d-81de-4625-ae16-f189e0b7e529" providerId="ADAL" clId="{EFB976C6-EC52-4602-90C8-86B8954E5255}" dt="2023-03-30T20:41:19.351" v="30045" actId="207"/>
          <ac:spMkLst>
            <pc:docMk/>
            <pc:sldMk cId="3207582910" sldId="2141411863"/>
            <ac:spMk id="15" creationId="{1AE94B59-9087-3A30-3ED4-D89E737D2B60}"/>
          </ac:spMkLst>
        </pc:spChg>
        <pc:spChg chg="mod">
          <ac:chgData name="Gasteiger, Cassidy M" userId="49e4247d-81de-4625-ae16-f189e0b7e529" providerId="ADAL" clId="{EFB976C6-EC52-4602-90C8-86B8954E5255}" dt="2023-03-30T20:41:30.429" v="30046" actId="207"/>
          <ac:spMkLst>
            <pc:docMk/>
            <pc:sldMk cId="3207582910" sldId="2141411863"/>
            <ac:spMk id="19" creationId="{8615E72A-AF87-57B2-D90A-AF13671EEF9E}"/>
          </ac:spMkLst>
        </pc:spChg>
      </pc:sldChg>
      <pc:sldChg chg="modSp add del mod ord">
        <pc:chgData name="Gasteiger, Cassidy M" userId="49e4247d-81de-4625-ae16-f189e0b7e529" providerId="ADAL" clId="{EFB976C6-EC52-4602-90C8-86B8954E5255}" dt="2023-03-31T03:39:14.867" v="41648" actId="2696"/>
        <pc:sldMkLst>
          <pc:docMk/>
          <pc:sldMk cId="1163266533" sldId="2141411864"/>
        </pc:sldMkLst>
        <pc:spChg chg="mod">
          <ac:chgData name="Gasteiger, Cassidy M" userId="49e4247d-81de-4625-ae16-f189e0b7e529" providerId="ADAL" clId="{EFB976C6-EC52-4602-90C8-86B8954E5255}" dt="2023-03-30T20:49:00.470" v="30076" actId="207"/>
          <ac:spMkLst>
            <pc:docMk/>
            <pc:sldMk cId="1163266533" sldId="2141411864"/>
            <ac:spMk id="2" creationId="{2B2AA85E-C3EB-2039-19ED-F5B6C60AAF13}"/>
          </ac:spMkLst>
        </pc:spChg>
        <pc:spChg chg="mod">
          <ac:chgData name="Gasteiger, Cassidy M" userId="49e4247d-81de-4625-ae16-f189e0b7e529" providerId="ADAL" clId="{EFB976C6-EC52-4602-90C8-86B8954E5255}" dt="2023-03-30T20:48:56.965" v="30075" actId="207"/>
          <ac:spMkLst>
            <pc:docMk/>
            <pc:sldMk cId="1163266533" sldId="2141411864"/>
            <ac:spMk id="19" creationId="{8615E72A-AF87-57B2-D90A-AF13671EEF9E}"/>
          </ac:spMkLst>
        </pc:spChg>
      </pc:sldChg>
      <pc:sldChg chg="add">
        <pc:chgData name="Gasteiger, Cassidy M" userId="49e4247d-81de-4625-ae16-f189e0b7e529" providerId="ADAL" clId="{EFB976C6-EC52-4602-90C8-86B8954E5255}" dt="2023-03-31T03:39:42.016" v="41652"/>
        <pc:sldMkLst>
          <pc:docMk/>
          <pc:sldMk cId="426761716" sldId="2141411865"/>
        </pc:sldMkLst>
      </pc:sldChg>
      <pc:sldChg chg="addSp delSp modSp add del mod">
        <pc:chgData name="Gasteiger, Cassidy M" userId="49e4247d-81de-4625-ae16-f189e0b7e529" providerId="ADAL" clId="{EFB976C6-EC52-4602-90C8-86B8954E5255}" dt="2023-03-31T03:39:36.176" v="41651" actId="2696"/>
        <pc:sldMkLst>
          <pc:docMk/>
          <pc:sldMk cId="2677383997" sldId="2141411865"/>
        </pc:sldMkLst>
        <pc:spChg chg="mod">
          <ac:chgData name="Gasteiger, Cassidy M" userId="49e4247d-81de-4625-ae16-f189e0b7e529" providerId="ADAL" clId="{EFB976C6-EC52-4602-90C8-86B8954E5255}" dt="2023-03-31T02:48:25.630" v="41022" actId="207"/>
          <ac:spMkLst>
            <pc:docMk/>
            <pc:sldMk cId="2677383997" sldId="2141411865"/>
            <ac:spMk id="4" creationId="{57197048-F1B9-38AB-DC8B-5E769897413B}"/>
          </ac:spMkLst>
        </pc:spChg>
        <pc:spChg chg="del">
          <ac:chgData name="Gasteiger, Cassidy M" userId="49e4247d-81de-4625-ae16-f189e0b7e529" providerId="ADAL" clId="{EFB976C6-EC52-4602-90C8-86B8954E5255}" dt="2023-03-30T20:55:41.062" v="30332" actId="478"/>
          <ac:spMkLst>
            <pc:docMk/>
            <pc:sldMk cId="2677383997" sldId="2141411865"/>
            <ac:spMk id="4" creationId="{7B688DB7-0433-86E0-159A-C6A897626032}"/>
          </ac:spMkLst>
        </pc:spChg>
        <pc:spChg chg="add mod">
          <ac:chgData name="Gasteiger, Cassidy M" userId="49e4247d-81de-4625-ae16-f189e0b7e529" providerId="ADAL" clId="{EFB976C6-EC52-4602-90C8-86B8954E5255}" dt="2023-03-30T21:25:00.878" v="31520" actId="20577"/>
          <ac:spMkLst>
            <pc:docMk/>
            <pc:sldMk cId="2677383997" sldId="2141411865"/>
            <ac:spMk id="5" creationId="{915A36C5-9180-214E-80BB-D4B0327F251F}"/>
          </ac:spMkLst>
        </pc:spChg>
        <pc:spChg chg="del">
          <ac:chgData name="Gasteiger, Cassidy M" userId="49e4247d-81de-4625-ae16-f189e0b7e529" providerId="ADAL" clId="{EFB976C6-EC52-4602-90C8-86B8954E5255}" dt="2023-03-30T20:55:43.638" v="30333" actId="478"/>
          <ac:spMkLst>
            <pc:docMk/>
            <pc:sldMk cId="2677383997" sldId="2141411865"/>
            <ac:spMk id="8" creationId="{94B10EA8-7CEF-C026-AE6D-0C98CA26526E}"/>
          </ac:spMkLst>
        </pc:spChg>
        <pc:spChg chg="mod">
          <ac:chgData name="Gasteiger, Cassidy M" userId="49e4247d-81de-4625-ae16-f189e0b7e529" providerId="ADAL" clId="{EFB976C6-EC52-4602-90C8-86B8954E5255}" dt="2023-03-30T20:55:47.324" v="30347" actId="20577"/>
          <ac:spMkLst>
            <pc:docMk/>
            <pc:sldMk cId="2677383997" sldId="2141411865"/>
            <ac:spMk id="11" creationId="{31ABE50F-8918-E0D1-DBC0-9355B415491E}"/>
          </ac:spMkLst>
        </pc:spChg>
        <pc:spChg chg="mod">
          <ac:chgData name="Gasteiger, Cassidy M" userId="49e4247d-81de-4625-ae16-f189e0b7e529" providerId="ADAL" clId="{EFB976C6-EC52-4602-90C8-86B8954E5255}" dt="2023-03-30T21:02:01.272" v="30557" actId="20577"/>
          <ac:spMkLst>
            <pc:docMk/>
            <pc:sldMk cId="2677383997" sldId="2141411865"/>
            <ac:spMk id="235" creationId="{00000000-0000-0000-0000-000000000000}"/>
          </ac:spMkLst>
        </pc:spChg>
        <pc:graphicFrameChg chg="add mod modGraphic">
          <ac:chgData name="Gasteiger, Cassidy M" userId="49e4247d-81de-4625-ae16-f189e0b7e529" providerId="ADAL" clId="{EFB976C6-EC52-4602-90C8-86B8954E5255}" dt="2023-03-30T21:01:15.736" v="30537" actId="1076"/>
          <ac:graphicFrameMkLst>
            <pc:docMk/>
            <pc:sldMk cId="2677383997" sldId="2141411865"/>
            <ac:graphicFrameMk id="2" creationId="{FAFE7987-A72A-0A64-1AE1-4D74401D8A42}"/>
          </ac:graphicFrameMkLst>
        </pc:graphicFrameChg>
        <pc:picChg chg="add mod">
          <ac:chgData name="Gasteiger, Cassidy M" userId="49e4247d-81de-4625-ae16-f189e0b7e529" providerId="ADAL" clId="{EFB976C6-EC52-4602-90C8-86B8954E5255}" dt="2023-03-30T20:58:13.308" v="30413" actId="14100"/>
          <ac:picMkLst>
            <pc:docMk/>
            <pc:sldMk cId="2677383997" sldId="2141411865"/>
            <ac:picMk id="1026" creationId="{AB969A8B-FD86-21DC-97C5-F2E079233A39}"/>
          </ac:picMkLst>
        </pc:picChg>
        <pc:picChg chg="add mod">
          <ac:chgData name="Gasteiger, Cassidy M" userId="49e4247d-81de-4625-ae16-f189e0b7e529" providerId="ADAL" clId="{EFB976C6-EC52-4602-90C8-86B8954E5255}" dt="2023-03-30T20:58:16.637" v="30414" actId="14100"/>
          <ac:picMkLst>
            <pc:docMk/>
            <pc:sldMk cId="2677383997" sldId="2141411865"/>
            <ac:picMk id="1028" creationId="{1B4A2BAE-7F7E-1CC6-6CFF-C5AF76EA8205}"/>
          </ac:picMkLst>
        </pc:picChg>
        <pc:cxnChg chg="del">
          <ac:chgData name="Gasteiger, Cassidy M" userId="49e4247d-81de-4625-ae16-f189e0b7e529" providerId="ADAL" clId="{EFB976C6-EC52-4602-90C8-86B8954E5255}" dt="2023-03-30T20:55:41.062" v="30332" actId="478"/>
          <ac:cxnSpMkLst>
            <pc:docMk/>
            <pc:sldMk cId="2677383997" sldId="2141411865"/>
            <ac:cxnSpMk id="10" creationId="{42AE90B6-DF18-C891-CCA3-972472E726A2}"/>
          </ac:cxnSpMkLst>
        </pc:cxnChg>
      </pc:sldChg>
      <pc:sldChg chg="addSp delSp modSp add del mod ord">
        <pc:chgData name="Gasteiger, Cassidy M" userId="49e4247d-81de-4625-ae16-f189e0b7e529" providerId="ADAL" clId="{EFB976C6-EC52-4602-90C8-86B8954E5255}" dt="2023-03-31T03:39:36.176" v="41651" actId="2696"/>
        <pc:sldMkLst>
          <pc:docMk/>
          <pc:sldMk cId="2274002553" sldId="2141411866"/>
        </pc:sldMkLst>
        <pc:spChg chg="add mod">
          <ac:chgData name="Gasteiger, Cassidy M" userId="49e4247d-81de-4625-ae16-f189e0b7e529" providerId="ADAL" clId="{EFB976C6-EC52-4602-90C8-86B8954E5255}" dt="2023-03-30T21:25:09.552" v="31541" actId="1076"/>
          <ac:spMkLst>
            <pc:docMk/>
            <pc:sldMk cId="2274002553" sldId="2141411866"/>
            <ac:spMk id="4" creationId="{85B83130-ED0A-AA29-6E5B-F417A70397AC}"/>
          </ac:spMkLst>
        </pc:spChg>
        <pc:spChg chg="del mod">
          <ac:chgData name="Gasteiger, Cassidy M" userId="49e4247d-81de-4625-ae16-f189e0b7e529" providerId="ADAL" clId="{EFB976C6-EC52-4602-90C8-86B8954E5255}" dt="2023-03-30T21:03:55.533" v="30689" actId="478"/>
          <ac:spMkLst>
            <pc:docMk/>
            <pc:sldMk cId="2274002553" sldId="2141411866"/>
            <ac:spMk id="5" creationId="{915A36C5-9180-214E-80BB-D4B0327F251F}"/>
          </ac:spMkLst>
        </pc:spChg>
        <pc:spChg chg="mod">
          <ac:chgData name="Gasteiger, Cassidy M" userId="49e4247d-81de-4625-ae16-f189e0b7e529" providerId="ADAL" clId="{EFB976C6-EC52-4602-90C8-86B8954E5255}" dt="2023-03-30T21:02:58.115" v="30634" actId="20577"/>
          <ac:spMkLst>
            <pc:docMk/>
            <pc:sldMk cId="2274002553" sldId="2141411866"/>
            <ac:spMk id="235" creationId="{00000000-0000-0000-0000-000000000000}"/>
          </ac:spMkLst>
        </pc:spChg>
        <pc:graphicFrameChg chg="mod modGraphic">
          <ac:chgData name="Gasteiger, Cassidy M" userId="49e4247d-81de-4625-ae16-f189e0b7e529" providerId="ADAL" clId="{EFB976C6-EC52-4602-90C8-86B8954E5255}" dt="2023-03-30T21:15:29.881" v="30726" actId="1076"/>
          <ac:graphicFrameMkLst>
            <pc:docMk/>
            <pc:sldMk cId="2274002553" sldId="2141411866"/>
            <ac:graphicFrameMk id="2" creationId="{FAFE7987-A72A-0A64-1AE1-4D74401D8A42}"/>
          </ac:graphicFrameMkLst>
        </pc:graphicFrameChg>
        <pc:picChg chg="mod">
          <ac:chgData name="Gasteiger, Cassidy M" userId="49e4247d-81de-4625-ae16-f189e0b7e529" providerId="ADAL" clId="{EFB976C6-EC52-4602-90C8-86B8954E5255}" dt="2023-03-31T01:50:40.887" v="37073" actId="1076"/>
          <ac:picMkLst>
            <pc:docMk/>
            <pc:sldMk cId="2274002553" sldId="2141411866"/>
            <ac:picMk id="5" creationId="{8E991B18-3315-A3FB-C3DB-05D007B37686}"/>
          </ac:picMkLst>
        </pc:picChg>
        <pc:picChg chg="del">
          <ac:chgData name="Gasteiger, Cassidy M" userId="49e4247d-81de-4625-ae16-f189e0b7e529" providerId="ADAL" clId="{EFB976C6-EC52-4602-90C8-86B8954E5255}" dt="2023-03-30T21:03:01.111" v="30637" actId="478"/>
          <ac:picMkLst>
            <pc:docMk/>
            <pc:sldMk cId="2274002553" sldId="2141411866"/>
            <ac:picMk id="1026" creationId="{AB969A8B-FD86-21DC-97C5-F2E079233A39}"/>
          </ac:picMkLst>
        </pc:picChg>
        <pc:picChg chg="del">
          <ac:chgData name="Gasteiger, Cassidy M" userId="49e4247d-81de-4625-ae16-f189e0b7e529" providerId="ADAL" clId="{EFB976C6-EC52-4602-90C8-86B8954E5255}" dt="2023-03-30T21:03:02.135" v="30638" actId="478"/>
          <ac:picMkLst>
            <pc:docMk/>
            <pc:sldMk cId="2274002553" sldId="2141411866"/>
            <ac:picMk id="1028" creationId="{1B4A2BAE-7F7E-1CC6-6CFF-C5AF76EA8205}"/>
          </ac:picMkLst>
        </pc:picChg>
        <pc:picChg chg="add mod">
          <ac:chgData name="Gasteiger, Cassidy M" userId="49e4247d-81de-4625-ae16-f189e0b7e529" providerId="ADAL" clId="{EFB976C6-EC52-4602-90C8-86B8954E5255}" dt="2023-03-30T21:04:06.749" v="30693" actId="1076"/>
          <ac:picMkLst>
            <pc:docMk/>
            <pc:sldMk cId="2274002553" sldId="2141411866"/>
            <ac:picMk id="2050" creationId="{A9283F6B-7692-38F0-E6B4-BC392E8EC5EA}"/>
          </ac:picMkLst>
        </pc:picChg>
        <pc:picChg chg="add mod">
          <ac:chgData name="Gasteiger, Cassidy M" userId="49e4247d-81de-4625-ae16-f189e0b7e529" providerId="ADAL" clId="{EFB976C6-EC52-4602-90C8-86B8954E5255}" dt="2023-03-30T21:04:02.129" v="30691" actId="1076"/>
          <ac:picMkLst>
            <pc:docMk/>
            <pc:sldMk cId="2274002553" sldId="2141411866"/>
            <ac:picMk id="2052" creationId="{6E59099A-2A73-F6FC-25F1-45256FF81461}"/>
          </ac:picMkLst>
        </pc:picChg>
      </pc:sldChg>
      <pc:sldChg chg="add">
        <pc:chgData name="Gasteiger, Cassidy M" userId="49e4247d-81de-4625-ae16-f189e0b7e529" providerId="ADAL" clId="{EFB976C6-EC52-4602-90C8-86B8954E5255}" dt="2023-03-31T03:39:42.016" v="41652"/>
        <pc:sldMkLst>
          <pc:docMk/>
          <pc:sldMk cId="2728272499" sldId="2141411866"/>
        </pc:sldMkLst>
      </pc:sldChg>
      <pc:sldChg chg="addSp delSp modSp add mod">
        <pc:chgData name="Gasteiger, Cassidy M" userId="49e4247d-81de-4625-ae16-f189e0b7e529" providerId="ADAL" clId="{EFB976C6-EC52-4602-90C8-86B8954E5255}" dt="2023-03-31T16:52:04.986" v="41701" actId="1076"/>
        <pc:sldMkLst>
          <pc:docMk/>
          <pc:sldMk cId="1349603347" sldId="2141411867"/>
        </pc:sldMkLst>
        <pc:spChg chg="add del mod">
          <ac:chgData name="Gasteiger, Cassidy M" userId="49e4247d-81de-4625-ae16-f189e0b7e529" providerId="ADAL" clId="{EFB976C6-EC52-4602-90C8-86B8954E5255}" dt="2023-03-31T00:40:54.876" v="34199" actId="478"/>
          <ac:spMkLst>
            <pc:docMk/>
            <pc:sldMk cId="1349603347" sldId="2141411867"/>
            <ac:spMk id="2" creationId="{B576C586-EB52-67F0-2380-2757C16A7053}"/>
          </ac:spMkLst>
        </pc:spChg>
        <pc:spChg chg="add del mod">
          <ac:chgData name="Gasteiger, Cassidy M" userId="49e4247d-81de-4625-ae16-f189e0b7e529" providerId="ADAL" clId="{EFB976C6-EC52-4602-90C8-86B8954E5255}" dt="2023-03-31T02:47:18.857" v="41017" actId="113"/>
          <ac:spMkLst>
            <pc:docMk/>
            <pc:sldMk cId="1349603347" sldId="2141411867"/>
            <ac:spMk id="3" creationId="{19DA0307-2777-F02D-ADB8-421030F12C71}"/>
          </ac:spMkLst>
        </pc:spChg>
        <pc:spChg chg="add del">
          <ac:chgData name="Gasteiger, Cassidy M" userId="49e4247d-81de-4625-ae16-f189e0b7e529" providerId="ADAL" clId="{EFB976C6-EC52-4602-90C8-86B8954E5255}" dt="2023-03-31T00:40:58.166" v="34201" actId="478"/>
          <ac:spMkLst>
            <pc:docMk/>
            <pc:sldMk cId="1349603347" sldId="2141411867"/>
            <ac:spMk id="4" creationId="{38D625D8-8512-FD87-E5E8-DD84CE67D45A}"/>
          </ac:spMkLst>
        </pc:spChg>
        <pc:spChg chg="mod">
          <ac:chgData name="Gasteiger, Cassidy M" userId="49e4247d-81de-4625-ae16-f189e0b7e529" providerId="ADAL" clId="{EFB976C6-EC52-4602-90C8-86B8954E5255}" dt="2023-03-30T23:35:01.939" v="33069" actId="20577"/>
          <ac:spMkLst>
            <pc:docMk/>
            <pc:sldMk cId="1349603347" sldId="2141411867"/>
            <ac:spMk id="235" creationId="{00000000-0000-0000-0000-000000000000}"/>
          </ac:spMkLst>
        </pc:spChg>
        <pc:picChg chg="add mod">
          <ac:chgData name="Gasteiger, Cassidy M" userId="49e4247d-81de-4625-ae16-f189e0b7e529" providerId="ADAL" clId="{EFB976C6-EC52-4602-90C8-86B8954E5255}" dt="2023-03-31T16:52:04.986" v="41701" actId="1076"/>
          <ac:picMkLst>
            <pc:docMk/>
            <pc:sldMk cId="1349603347" sldId="2141411867"/>
            <ac:picMk id="4" creationId="{3C30B634-8881-AAA7-0A9B-56FBAA9213E6}"/>
          </ac:picMkLst>
        </pc:picChg>
        <pc:picChg chg="add del mod">
          <ac:chgData name="Gasteiger, Cassidy M" userId="49e4247d-81de-4625-ae16-f189e0b7e529" providerId="ADAL" clId="{EFB976C6-EC52-4602-90C8-86B8954E5255}" dt="2023-03-31T16:51:33.294" v="41691" actId="478"/>
          <ac:picMkLst>
            <pc:docMk/>
            <pc:sldMk cId="1349603347" sldId="2141411867"/>
            <ac:picMk id="11" creationId="{B5A1B296-A5DE-85D3-0713-5D8F12356404}"/>
          </ac:picMkLst>
        </pc:picChg>
        <pc:picChg chg="del">
          <ac:chgData name="Gasteiger, Cassidy M" userId="49e4247d-81de-4625-ae16-f189e0b7e529" providerId="ADAL" clId="{EFB976C6-EC52-4602-90C8-86B8954E5255}" dt="2023-03-30T23:34:58.635" v="33048" actId="478"/>
          <ac:picMkLst>
            <pc:docMk/>
            <pc:sldMk cId="1349603347" sldId="2141411867"/>
            <ac:picMk id="3074" creationId="{8D7D2142-D886-17FC-B636-21B482A83219}"/>
          </ac:picMkLst>
        </pc:picChg>
        <pc:cxnChg chg="del">
          <ac:chgData name="Gasteiger, Cassidy M" userId="49e4247d-81de-4625-ae16-f189e0b7e529" providerId="ADAL" clId="{EFB976C6-EC52-4602-90C8-86B8954E5255}" dt="2023-03-31T16:51:53.039" v="41696" actId="478"/>
          <ac:cxnSpMkLst>
            <pc:docMk/>
            <pc:sldMk cId="1349603347" sldId="2141411867"/>
            <ac:cxnSpMk id="7" creationId="{DB9EA2F3-23A4-BDAF-B1CB-B03B8026DEF7}"/>
          </ac:cxnSpMkLst>
        </pc:cxnChg>
        <pc:cxnChg chg="add mod">
          <ac:chgData name="Gasteiger, Cassidy M" userId="49e4247d-81de-4625-ae16-f189e0b7e529" providerId="ADAL" clId="{EFB976C6-EC52-4602-90C8-86B8954E5255}" dt="2023-03-31T02:10:20.146" v="38594" actId="1076"/>
          <ac:cxnSpMkLst>
            <pc:docMk/>
            <pc:sldMk cId="1349603347" sldId="2141411867"/>
            <ac:cxnSpMk id="12" creationId="{E8BE8157-77A0-DE75-3A4B-EBD83DFD251A}"/>
          </ac:cxnSpMkLst>
        </pc:cxnChg>
      </pc:sldChg>
      <pc:sldChg chg="addSp delSp modSp add mod">
        <pc:chgData name="Gasteiger, Cassidy M" userId="49e4247d-81de-4625-ae16-f189e0b7e529" providerId="ADAL" clId="{EFB976C6-EC52-4602-90C8-86B8954E5255}" dt="2023-03-31T02:31:25.736" v="39533" actId="14100"/>
        <pc:sldMkLst>
          <pc:docMk/>
          <pc:sldMk cId="2274967187" sldId="2141411868"/>
        </pc:sldMkLst>
        <pc:spChg chg="mod">
          <ac:chgData name="Gasteiger, Cassidy M" userId="49e4247d-81de-4625-ae16-f189e0b7e529" providerId="ADAL" clId="{EFB976C6-EC52-4602-90C8-86B8954E5255}" dt="2023-03-31T00:27:43.333" v="33702" actId="164"/>
          <ac:spMkLst>
            <pc:docMk/>
            <pc:sldMk cId="2274967187" sldId="2141411868"/>
            <ac:spMk id="3" creationId="{302DF093-49E3-6376-71B7-65DD6CD04C2B}"/>
          </ac:spMkLst>
        </pc:spChg>
        <pc:spChg chg="mod">
          <ac:chgData name="Gasteiger, Cassidy M" userId="49e4247d-81de-4625-ae16-f189e0b7e529" providerId="ADAL" clId="{EFB976C6-EC52-4602-90C8-86B8954E5255}" dt="2023-03-31T00:27:43.333" v="33702" actId="164"/>
          <ac:spMkLst>
            <pc:docMk/>
            <pc:sldMk cId="2274967187" sldId="2141411868"/>
            <ac:spMk id="5" creationId="{055A6411-FCE3-7CD8-26D6-BEC4C2CB32A1}"/>
          </ac:spMkLst>
        </pc:spChg>
        <pc:spChg chg="mod">
          <ac:chgData name="Gasteiger, Cassidy M" userId="49e4247d-81de-4625-ae16-f189e0b7e529" providerId="ADAL" clId="{EFB976C6-EC52-4602-90C8-86B8954E5255}" dt="2023-03-31T00:27:43.333" v="33702" actId="164"/>
          <ac:spMkLst>
            <pc:docMk/>
            <pc:sldMk cId="2274967187" sldId="2141411868"/>
            <ac:spMk id="6" creationId="{027D0A23-A92B-E3C3-1C53-2395415479BB}"/>
          </ac:spMkLst>
        </pc:spChg>
        <pc:spChg chg="mod">
          <ac:chgData name="Gasteiger, Cassidy M" userId="49e4247d-81de-4625-ae16-f189e0b7e529" providerId="ADAL" clId="{EFB976C6-EC52-4602-90C8-86B8954E5255}" dt="2023-03-31T00:27:43.333" v="33702" actId="164"/>
          <ac:spMkLst>
            <pc:docMk/>
            <pc:sldMk cId="2274967187" sldId="2141411868"/>
            <ac:spMk id="7" creationId="{C0943541-7559-BD02-4F0C-A2EFA79ABC21}"/>
          </ac:spMkLst>
        </pc:spChg>
        <pc:spChg chg="add del mod">
          <ac:chgData name="Gasteiger, Cassidy M" userId="49e4247d-81de-4625-ae16-f189e0b7e529" providerId="ADAL" clId="{EFB976C6-EC52-4602-90C8-86B8954E5255}" dt="2023-03-31T02:19:50.486" v="39056" actId="478"/>
          <ac:spMkLst>
            <pc:docMk/>
            <pc:sldMk cId="2274967187" sldId="2141411868"/>
            <ac:spMk id="9" creationId="{EBC0E95E-0A34-7E94-5E51-E93F89EE6CD4}"/>
          </ac:spMkLst>
        </pc:spChg>
        <pc:spChg chg="mod">
          <ac:chgData name="Gasteiger, Cassidy M" userId="49e4247d-81de-4625-ae16-f189e0b7e529" providerId="ADAL" clId="{EFB976C6-EC52-4602-90C8-86B8954E5255}" dt="2023-03-31T00:27:37.406" v="33701" actId="1076"/>
          <ac:spMkLst>
            <pc:docMk/>
            <pc:sldMk cId="2274967187" sldId="2141411868"/>
            <ac:spMk id="40" creationId="{39030B13-5B62-1FBA-D4CE-21539040F809}"/>
          </ac:spMkLst>
        </pc:spChg>
        <pc:spChg chg="mod">
          <ac:chgData name="Gasteiger, Cassidy M" userId="49e4247d-81de-4625-ae16-f189e0b7e529" providerId="ADAL" clId="{EFB976C6-EC52-4602-90C8-86B8954E5255}" dt="2023-03-31T00:27:37.406" v="33701" actId="1076"/>
          <ac:spMkLst>
            <pc:docMk/>
            <pc:sldMk cId="2274967187" sldId="2141411868"/>
            <ac:spMk id="41" creationId="{C834DFAD-F826-1387-7500-5C9907F3C4A8}"/>
          </ac:spMkLst>
        </pc:spChg>
        <pc:spChg chg="mod ord">
          <ac:chgData name="Gasteiger, Cassidy M" userId="49e4247d-81de-4625-ae16-f189e0b7e529" providerId="ADAL" clId="{EFB976C6-EC52-4602-90C8-86B8954E5255}" dt="2023-03-31T02:31:25.736" v="39533" actId="14100"/>
          <ac:spMkLst>
            <pc:docMk/>
            <pc:sldMk cId="2274967187" sldId="2141411868"/>
            <ac:spMk id="44" creationId="{B56FB06A-80F4-C7B2-AFB5-C9C5CAAABDB7}"/>
          </ac:spMkLst>
        </pc:spChg>
        <pc:spChg chg="mod ord">
          <ac:chgData name="Gasteiger, Cassidy M" userId="49e4247d-81de-4625-ae16-f189e0b7e529" providerId="ADAL" clId="{EFB976C6-EC52-4602-90C8-86B8954E5255}" dt="2023-03-31T00:28:19.419" v="33708" actId="167"/>
          <ac:spMkLst>
            <pc:docMk/>
            <pc:sldMk cId="2274967187" sldId="2141411868"/>
            <ac:spMk id="46" creationId="{6B155FD9-0D31-CD2A-FD2A-52451AE8DB57}"/>
          </ac:spMkLst>
        </pc:spChg>
        <pc:spChg chg="mod">
          <ac:chgData name="Gasteiger, Cassidy M" userId="49e4247d-81de-4625-ae16-f189e0b7e529" providerId="ADAL" clId="{EFB976C6-EC52-4602-90C8-86B8954E5255}" dt="2023-03-31T02:31:12.976" v="39528" actId="20577"/>
          <ac:spMkLst>
            <pc:docMk/>
            <pc:sldMk cId="2274967187" sldId="2141411868"/>
            <ac:spMk id="49" creationId="{F1711BE7-82E5-1286-FBF9-95D33B28912F}"/>
          </ac:spMkLst>
        </pc:spChg>
        <pc:spChg chg="mod">
          <ac:chgData name="Gasteiger, Cassidy M" userId="49e4247d-81de-4625-ae16-f189e0b7e529" providerId="ADAL" clId="{EFB976C6-EC52-4602-90C8-86B8954E5255}" dt="2023-03-31T00:30:53.411" v="33949" actId="20577"/>
          <ac:spMkLst>
            <pc:docMk/>
            <pc:sldMk cId="2274967187" sldId="2141411868"/>
            <ac:spMk id="194" creationId="{D915D6B4-08F7-445F-8151-52E4C3E905E3}"/>
          </ac:spMkLst>
        </pc:spChg>
        <pc:spChg chg="mod">
          <ac:chgData name="Gasteiger, Cassidy M" userId="49e4247d-81de-4625-ae16-f189e0b7e529" providerId="ADAL" clId="{EFB976C6-EC52-4602-90C8-86B8954E5255}" dt="2023-03-31T00:26:17.917" v="33582" actId="20577"/>
          <ac:spMkLst>
            <pc:docMk/>
            <pc:sldMk cId="2274967187" sldId="2141411868"/>
            <ac:spMk id="202" creationId="{29E7D975-A05E-4E45-8CC9-2C5BFB738824}"/>
          </ac:spMkLst>
        </pc:spChg>
        <pc:spChg chg="mod">
          <ac:chgData name="Gasteiger, Cassidy M" userId="49e4247d-81de-4625-ae16-f189e0b7e529" providerId="ADAL" clId="{EFB976C6-EC52-4602-90C8-86B8954E5255}" dt="2023-03-31T00:26:51.026" v="33657" actId="20577"/>
          <ac:spMkLst>
            <pc:docMk/>
            <pc:sldMk cId="2274967187" sldId="2141411868"/>
            <ac:spMk id="204" creationId="{0D9E8726-6CA7-495E-98A0-BD3CB7FA4ACF}"/>
          </ac:spMkLst>
        </pc:spChg>
        <pc:spChg chg="mod">
          <ac:chgData name="Gasteiger, Cassidy M" userId="49e4247d-81de-4625-ae16-f189e0b7e529" providerId="ADAL" clId="{EFB976C6-EC52-4602-90C8-86B8954E5255}" dt="2023-03-31T00:26:22.176" v="33599" actId="20577"/>
          <ac:spMkLst>
            <pc:docMk/>
            <pc:sldMk cId="2274967187" sldId="2141411868"/>
            <ac:spMk id="206" creationId="{7D4B1AED-B2F5-49A7-8042-22727CA06D3E}"/>
          </ac:spMkLst>
        </pc:spChg>
        <pc:spChg chg="mod">
          <ac:chgData name="Gasteiger, Cassidy M" userId="49e4247d-81de-4625-ae16-f189e0b7e529" providerId="ADAL" clId="{EFB976C6-EC52-4602-90C8-86B8954E5255}" dt="2023-03-31T00:26:58.326" v="33683" actId="20577"/>
          <ac:spMkLst>
            <pc:docMk/>
            <pc:sldMk cId="2274967187" sldId="2141411868"/>
            <ac:spMk id="208" creationId="{6BEA58A8-898E-4FE6-8D3A-7EF5A1C4588F}"/>
          </ac:spMkLst>
        </pc:spChg>
        <pc:spChg chg="mod">
          <ac:chgData name="Gasteiger, Cassidy M" userId="49e4247d-81de-4625-ae16-f189e0b7e529" providerId="ADAL" clId="{EFB976C6-EC52-4602-90C8-86B8954E5255}" dt="2023-03-31T00:27:01.280" v="33696" actId="20577"/>
          <ac:spMkLst>
            <pc:docMk/>
            <pc:sldMk cId="2274967187" sldId="2141411868"/>
            <ac:spMk id="211" creationId="{1ACAC143-171D-4062-9C25-D71C16B1B692}"/>
          </ac:spMkLst>
        </pc:spChg>
        <pc:spChg chg="mod">
          <ac:chgData name="Gasteiger, Cassidy M" userId="49e4247d-81de-4625-ae16-f189e0b7e529" providerId="ADAL" clId="{EFB976C6-EC52-4602-90C8-86B8954E5255}" dt="2023-03-31T00:26:34.977" v="33631" actId="20577"/>
          <ac:spMkLst>
            <pc:docMk/>
            <pc:sldMk cId="2274967187" sldId="2141411868"/>
            <ac:spMk id="263" creationId="{B62C71DA-ED35-490D-81DD-E08168DD4484}"/>
          </ac:spMkLst>
        </pc:spChg>
        <pc:grpChg chg="mod">
          <ac:chgData name="Gasteiger, Cassidy M" userId="49e4247d-81de-4625-ae16-f189e0b7e529" providerId="ADAL" clId="{EFB976C6-EC52-4602-90C8-86B8954E5255}" dt="2023-03-31T00:27:37.406" v="33701" actId="1076"/>
          <ac:grpSpMkLst>
            <pc:docMk/>
            <pc:sldMk cId="2274967187" sldId="2141411868"/>
            <ac:grpSpMk id="13" creationId="{CC1454DB-3561-117A-158B-41D65C901EB6}"/>
          </ac:grpSpMkLst>
        </pc:grpChg>
        <pc:grpChg chg="mod">
          <ac:chgData name="Gasteiger, Cassidy M" userId="49e4247d-81de-4625-ae16-f189e0b7e529" providerId="ADAL" clId="{EFB976C6-EC52-4602-90C8-86B8954E5255}" dt="2023-03-31T00:27:37.406" v="33701" actId="1076"/>
          <ac:grpSpMkLst>
            <pc:docMk/>
            <pc:sldMk cId="2274967187" sldId="2141411868"/>
            <ac:grpSpMk id="29" creationId="{15B7FB8C-6935-1FC6-AE30-7C47B5EF8A40}"/>
          </ac:grpSpMkLst>
        </pc:grpChg>
        <pc:grpChg chg="add mod">
          <ac:chgData name="Gasteiger, Cassidy M" userId="49e4247d-81de-4625-ae16-f189e0b7e529" providerId="ADAL" clId="{EFB976C6-EC52-4602-90C8-86B8954E5255}" dt="2023-03-31T00:28:25.889" v="33709" actId="1076"/>
          <ac:grpSpMkLst>
            <pc:docMk/>
            <pc:sldMk cId="2274967187" sldId="2141411868"/>
            <ac:grpSpMk id="39" creationId="{CBD155BE-A4BA-2E4A-3A58-5382DF0851C3}"/>
          </ac:grpSpMkLst>
        </pc:grpChg>
        <pc:grpChg chg="mod ord">
          <ac:chgData name="Gasteiger, Cassidy M" userId="49e4247d-81de-4625-ae16-f189e0b7e529" providerId="ADAL" clId="{EFB976C6-EC52-4602-90C8-86B8954E5255}" dt="2023-03-31T00:28:19.419" v="33708" actId="167"/>
          <ac:grpSpMkLst>
            <pc:docMk/>
            <pc:sldMk cId="2274967187" sldId="2141411868"/>
            <ac:grpSpMk id="48" creationId="{98AEDAFB-A9B2-B6CE-4838-CC2CF5F85346}"/>
          </ac:grpSpMkLst>
        </pc:grpChg>
        <pc:grpChg chg="mod ord">
          <ac:chgData name="Gasteiger, Cassidy M" userId="49e4247d-81de-4625-ae16-f189e0b7e529" providerId="ADAL" clId="{EFB976C6-EC52-4602-90C8-86B8954E5255}" dt="2023-03-31T00:28:19.419" v="33708" actId="167"/>
          <ac:grpSpMkLst>
            <pc:docMk/>
            <pc:sldMk cId="2274967187" sldId="2141411868"/>
            <ac:grpSpMk id="53" creationId="{E2C31EB0-71D0-2FB7-5A0D-7325CFFE1806}"/>
          </ac:grpSpMkLst>
        </pc:grpChg>
        <pc:graphicFrameChg chg="mod">
          <ac:chgData name="Gasteiger, Cassidy M" userId="49e4247d-81de-4625-ae16-f189e0b7e529" providerId="ADAL" clId="{EFB976C6-EC52-4602-90C8-86B8954E5255}" dt="2023-03-31T00:27:56.296" v="33705" actId="1076"/>
          <ac:graphicFrameMkLst>
            <pc:docMk/>
            <pc:sldMk cId="2274967187" sldId="2141411868"/>
            <ac:graphicFrameMk id="30" creationId="{B65BC85A-9569-02DC-D8BA-697F3A0F8A59}"/>
          </ac:graphicFrameMkLst>
        </pc:graphicFrameChg>
        <pc:graphicFrameChg chg="mod">
          <ac:chgData name="Gasteiger, Cassidy M" userId="49e4247d-81de-4625-ae16-f189e0b7e529" providerId="ADAL" clId="{EFB976C6-EC52-4602-90C8-86B8954E5255}" dt="2023-03-31T00:27:56.296" v="33705" actId="1076"/>
          <ac:graphicFrameMkLst>
            <pc:docMk/>
            <pc:sldMk cId="2274967187" sldId="2141411868"/>
            <ac:graphicFrameMk id="31" creationId="{2514FB6B-66E8-9614-F940-AF0F646AEDDE}"/>
          </ac:graphicFrameMkLst>
        </pc:graphicFrameChg>
        <pc:graphicFrameChg chg="mod">
          <ac:chgData name="Gasteiger, Cassidy M" userId="49e4247d-81de-4625-ae16-f189e0b7e529" providerId="ADAL" clId="{EFB976C6-EC52-4602-90C8-86B8954E5255}" dt="2023-03-31T00:28:34.376" v="33710" actId="1076"/>
          <ac:graphicFrameMkLst>
            <pc:docMk/>
            <pc:sldMk cId="2274967187" sldId="2141411868"/>
            <ac:graphicFrameMk id="254" creationId="{4B043786-CF3E-42B7-9234-B5BC7139B0FB}"/>
          </ac:graphicFrameMkLst>
        </pc:graphicFrameChg>
        <pc:graphicFrameChg chg="mod">
          <ac:chgData name="Gasteiger, Cassidy M" userId="49e4247d-81de-4625-ae16-f189e0b7e529" providerId="ADAL" clId="{EFB976C6-EC52-4602-90C8-86B8954E5255}" dt="2023-03-31T00:28:34.376" v="33710" actId="1076"/>
          <ac:graphicFrameMkLst>
            <pc:docMk/>
            <pc:sldMk cId="2274967187" sldId="2141411868"/>
            <ac:graphicFrameMk id="255" creationId="{43012138-E161-4815-A10A-57497B36CA6F}"/>
          </ac:graphicFrameMkLst>
        </pc:graphicFrameChg>
        <pc:graphicFrameChg chg="mod">
          <ac:chgData name="Gasteiger, Cassidy M" userId="49e4247d-81de-4625-ae16-f189e0b7e529" providerId="ADAL" clId="{EFB976C6-EC52-4602-90C8-86B8954E5255}" dt="2023-03-31T00:27:29.414" v="33700" actId="1076"/>
          <ac:graphicFrameMkLst>
            <pc:docMk/>
            <pc:sldMk cId="2274967187" sldId="2141411868"/>
            <ac:graphicFrameMk id="259" creationId="{2FADA289-8F35-4FBF-B648-36375646E20F}"/>
          </ac:graphicFrameMkLst>
        </pc:graphicFrameChg>
        <pc:graphicFrameChg chg="mod">
          <ac:chgData name="Gasteiger, Cassidy M" userId="49e4247d-81de-4625-ae16-f189e0b7e529" providerId="ADAL" clId="{EFB976C6-EC52-4602-90C8-86B8954E5255}" dt="2023-03-31T00:27:29.414" v="33700" actId="1076"/>
          <ac:graphicFrameMkLst>
            <pc:docMk/>
            <pc:sldMk cId="2274967187" sldId="2141411868"/>
            <ac:graphicFrameMk id="260" creationId="{410AE525-271B-40BE-A1D1-2B07F398876A}"/>
          </ac:graphicFrameMkLst>
        </pc:graphicFrameChg>
      </pc:sldChg>
      <pc:sldChg chg="add del">
        <pc:chgData name="Gasteiger, Cassidy M" userId="49e4247d-81de-4625-ae16-f189e0b7e529" providerId="ADAL" clId="{EFB976C6-EC52-4602-90C8-86B8954E5255}" dt="2023-03-31T00:51:34.996" v="34397" actId="2696"/>
        <pc:sldMkLst>
          <pc:docMk/>
          <pc:sldMk cId="3876209291" sldId="2141411869"/>
        </pc:sldMkLst>
      </pc:sldChg>
      <pc:sldChg chg="addSp delSp modSp add mod">
        <pc:chgData name="Gasteiger, Cassidy M" userId="49e4247d-81de-4625-ae16-f189e0b7e529" providerId="ADAL" clId="{EFB976C6-EC52-4602-90C8-86B8954E5255}" dt="2023-03-31T02:24:32.096" v="39063" actId="1076"/>
        <pc:sldMkLst>
          <pc:docMk/>
          <pc:sldMk cId="3875709419" sldId="2141411870"/>
        </pc:sldMkLst>
        <pc:spChg chg="add del mod">
          <ac:chgData name="Gasteiger, Cassidy M" userId="49e4247d-81de-4625-ae16-f189e0b7e529" providerId="ADAL" clId="{EFB976C6-EC52-4602-90C8-86B8954E5255}" dt="2023-03-31T02:12:04.886" v="38794" actId="478"/>
          <ac:spMkLst>
            <pc:docMk/>
            <pc:sldMk cId="3875709419" sldId="2141411870"/>
            <ac:spMk id="7" creationId="{D3C823B9-5E5E-A07E-5FB2-DBD920229230}"/>
          </ac:spMkLst>
        </pc:spChg>
        <pc:spChg chg="add del mod">
          <ac:chgData name="Gasteiger, Cassidy M" userId="49e4247d-81de-4625-ae16-f189e0b7e529" providerId="ADAL" clId="{EFB976C6-EC52-4602-90C8-86B8954E5255}" dt="2023-03-31T02:12:04.886" v="38794" actId="478"/>
          <ac:spMkLst>
            <pc:docMk/>
            <pc:sldMk cId="3875709419" sldId="2141411870"/>
            <ac:spMk id="8" creationId="{2423C809-83F6-B6E3-EEA1-3B964A3937D8}"/>
          </ac:spMkLst>
        </pc:spChg>
        <pc:spChg chg="mod ord">
          <ac:chgData name="Gasteiger, Cassidy M" userId="49e4247d-81de-4625-ae16-f189e0b7e529" providerId="ADAL" clId="{EFB976C6-EC52-4602-90C8-86B8954E5255}" dt="2023-03-31T02:24:32.096" v="39063" actId="1076"/>
          <ac:spMkLst>
            <pc:docMk/>
            <pc:sldMk cId="3875709419" sldId="2141411870"/>
            <ac:spMk id="9" creationId="{EBC0E95E-0A34-7E94-5E51-E93F89EE6CD4}"/>
          </ac:spMkLst>
        </pc:spChg>
        <pc:spChg chg="mod">
          <ac:chgData name="Gasteiger, Cassidy M" userId="49e4247d-81de-4625-ae16-f189e0b7e529" providerId="ADAL" clId="{EFB976C6-EC52-4602-90C8-86B8954E5255}" dt="2023-03-31T00:31:37.761" v="33952"/>
          <ac:spMkLst>
            <pc:docMk/>
            <pc:sldMk cId="3875709419" sldId="2141411870"/>
            <ac:spMk id="43" creationId="{AFA2B178-7759-ABD4-E535-EC7A7B4BC0F6}"/>
          </ac:spMkLst>
        </pc:spChg>
        <pc:spChg chg="mod">
          <ac:chgData name="Gasteiger, Cassidy M" userId="49e4247d-81de-4625-ae16-f189e0b7e529" providerId="ADAL" clId="{EFB976C6-EC52-4602-90C8-86B8954E5255}" dt="2023-03-31T00:31:37.761" v="33952"/>
          <ac:spMkLst>
            <pc:docMk/>
            <pc:sldMk cId="3875709419" sldId="2141411870"/>
            <ac:spMk id="47" creationId="{8A9906FF-3B28-0AE9-747D-59F8DBFC18AF}"/>
          </ac:spMkLst>
        </pc:spChg>
        <pc:spChg chg="add mod">
          <ac:chgData name="Gasteiger, Cassidy M" userId="49e4247d-81de-4625-ae16-f189e0b7e529" providerId="ADAL" clId="{EFB976C6-EC52-4602-90C8-86B8954E5255}" dt="2023-03-31T02:15:50.121" v="39051" actId="1076"/>
          <ac:spMkLst>
            <pc:docMk/>
            <pc:sldMk cId="3875709419" sldId="2141411870"/>
            <ac:spMk id="52" creationId="{1A1A3476-630A-F24C-072F-379460380E5D}"/>
          </ac:spMkLst>
        </pc:spChg>
        <pc:spChg chg="mod">
          <ac:chgData name="Gasteiger, Cassidy M" userId="49e4247d-81de-4625-ae16-f189e0b7e529" providerId="ADAL" clId="{EFB976C6-EC52-4602-90C8-86B8954E5255}" dt="2023-03-31T00:50:01.317" v="34283" actId="14100"/>
          <ac:spMkLst>
            <pc:docMk/>
            <pc:sldMk cId="3875709419" sldId="2141411870"/>
            <ac:spMk id="58" creationId="{5FA48DFE-1792-D0C6-3D58-0C17B8AE9211}"/>
          </ac:spMkLst>
        </pc:spChg>
        <pc:spChg chg="mod">
          <ac:chgData name="Gasteiger, Cassidy M" userId="49e4247d-81de-4625-ae16-f189e0b7e529" providerId="ADAL" clId="{EFB976C6-EC52-4602-90C8-86B8954E5255}" dt="2023-03-31T00:49:48.566" v="34276" actId="14100"/>
          <ac:spMkLst>
            <pc:docMk/>
            <pc:sldMk cId="3875709419" sldId="2141411870"/>
            <ac:spMk id="60" creationId="{0F47189F-C38E-0A87-DB97-F90D4DE6B08C}"/>
          </ac:spMkLst>
        </pc:spChg>
        <pc:spChg chg="mod">
          <ac:chgData name="Gasteiger, Cassidy M" userId="49e4247d-81de-4625-ae16-f189e0b7e529" providerId="ADAL" clId="{EFB976C6-EC52-4602-90C8-86B8954E5255}" dt="2023-03-31T00:51:21.807" v="34396" actId="20577"/>
          <ac:spMkLst>
            <pc:docMk/>
            <pc:sldMk cId="3875709419" sldId="2141411870"/>
            <ac:spMk id="194" creationId="{D915D6B4-08F7-445F-8151-52E4C3E905E3}"/>
          </ac:spMkLst>
        </pc:spChg>
        <pc:spChg chg="del">
          <ac:chgData name="Gasteiger, Cassidy M" userId="49e4247d-81de-4625-ae16-f189e0b7e529" providerId="ADAL" clId="{EFB976C6-EC52-4602-90C8-86B8954E5255}" dt="2023-03-31T02:12:06.651" v="38795" actId="478"/>
          <ac:spMkLst>
            <pc:docMk/>
            <pc:sldMk cId="3875709419" sldId="2141411870"/>
            <ac:spMk id="195" creationId="{EDA6B406-4C92-476F-8401-1200D903A65E}"/>
          </ac:spMkLst>
        </pc:spChg>
        <pc:spChg chg="mod">
          <ac:chgData name="Gasteiger, Cassidy M" userId="49e4247d-81de-4625-ae16-f189e0b7e529" providerId="ADAL" clId="{EFB976C6-EC52-4602-90C8-86B8954E5255}" dt="2023-03-31T00:30:02.016" v="33831" actId="20577"/>
          <ac:spMkLst>
            <pc:docMk/>
            <pc:sldMk cId="3875709419" sldId="2141411870"/>
            <ac:spMk id="204" creationId="{0D9E8726-6CA7-495E-98A0-BD3CB7FA4ACF}"/>
          </ac:spMkLst>
        </pc:spChg>
        <pc:grpChg chg="del">
          <ac:chgData name="Gasteiger, Cassidy M" userId="49e4247d-81de-4625-ae16-f189e0b7e529" providerId="ADAL" clId="{EFB976C6-EC52-4602-90C8-86B8954E5255}" dt="2023-03-31T00:31:04.208" v="33950" actId="478"/>
          <ac:grpSpMkLst>
            <pc:docMk/>
            <pc:sldMk cId="3875709419" sldId="2141411870"/>
            <ac:grpSpMk id="39" creationId="{CBD155BE-A4BA-2E4A-3A58-5382DF0851C3}"/>
          </ac:grpSpMkLst>
        </pc:grpChg>
        <pc:grpChg chg="add del mod">
          <ac:chgData name="Gasteiger, Cassidy M" userId="49e4247d-81de-4625-ae16-f189e0b7e529" providerId="ADAL" clId="{EFB976C6-EC52-4602-90C8-86B8954E5255}" dt="2023-03-31T00:32:35.746" v="34018" actId="478"/>
          <ac:grpSpMkLst>
            <pc:docMk/>
            <pc:sldMk cId="3875709419" sldId="2141411870"/>
            <ac:grpSpMk id="42" creationId="{AC53085B-C4CB-7312-9E86-B29D52BBE0DB}"/>
          </ac:grpSpMkLst>
        </pc:grpChg>
        <pc:grpChg chg="add mod">
          <ac:chgData name="Gasteiger, Cassidy M" userId="49e4247d-81de-4625-ae16-f189e0b7e529" providerId="ADAL" clId="{EFB976C6-EC52-4602-90C8-86B8954E5255}" dt="2023-03-31T00:50:05.198" v="34290" actId="1036"/>
          <ac:grpSpMkLst>
            <pc:docMk/>
            <pc:sldMk cId="3875709419" sldId="2141411870"/>
            <ac:grpSpMk id="57" creationId="{CB939749-165F-494E-0101-54329A97F975}"/>
          </ac:grpSpMkLst>
        </pc:grpChg>
        <pc:picChg chg="mod">
          <ac:chgData name="Gasteiger, Cassidy M" userId="49e4247d-81de-4625-ae16-f189e0b7e529" providerId="ADAL" clId="{EFB976C6-EC52-4602-90C8-86B8954E5255}" dt="2023-03-31T02:12:02.885" v="38792" actId="1076"/>
          <ac:picMkLst>
            <pc:docMk/>
            <pc:sldMk cId="3875709419" sldId="2141411870"/>
            <ac:picMk id="5" creationId="{B91D645E-E6D2-4C47-F5DF-9DB0BA3CE37F}"/>
          </ac:picMkLst>
        </pc:picChg>
        <pc:cxnChg chg="mod">
          <ac:chgData name="Gasteiger, Cassidy M" userId="49e4247d-81de-4625-ae16-f189e0b7e529" providerId="ADAL" clId="{EFB976C6-EC52-4602-90C8-86B8954E5255}" dt="2023-03-31T00:31:37.761" v="33952"/>
          <ac:cxnSpMkLst>
            <pc:docMk/>
            <pc:sldMk cId="3875709419" sldId="2141411870"/>
            <ac:cxnSpMk id="45" creationId="{3B62587C-68BE-E680-98CB-C270B023AFCD}"/>
          </ac:cxnSpMkLst>
        </pc:cxnChg>
        <pc:cxnChg chg="mod">
          <ac:chgData name="Gasteiger, Cassidy M" userId="49e4247d-81de-4625-ae16-f189e0b7e529" providerId="ADAL" clId="{EFB976C6-EC52-4602-90C8-86B8954E5255}" dt="2023-03-31T00:49:33.095" v="34233"/>
          <ac:cxnSpMkLst>
            <pc:docMk/>
            <pc:sldMk cId="3875709419" sldId="2141411870"/>
            <ac:cxnSpMk id="59" creationId="{7FF5715C-D8CF-1F9C-6A8B-D6187CF0FA5A}"/>
          </ac:cxnSpMkLst>
        </pc:cxnChg>
      </pc:sldChg>
      <pc:sldChg chg="addSp delSp modSp add del mod">
        <pc:chgData name="Gasteiger, Cassidy M" userId="49e4247d-81de-4625-ae16-f189e0b7e529" providerId="ADAL" clId="{EFB976C6-EC52-4602-90C8-86B8954E5255}" dt="2023-03-31T02:47:51.442" v="41019" actId="20577"/>
        <pc:sldMkLst>
          <pc:docMk/>
          <pc:sldMk cId="2768649226" sldId="2141411871"/>
        </pc:sldMkLst>
        <pc:spChg chg="mod">
          <ac:chgData name="Gasteiger, Cassidy M" userId="49e4247d-81de-4625-ae16-f189e0b7e529" providerId="ADAL" clId="{EFB976C6-EC52-4602-90C8-86B8954E5255}" dt="2023-03-31T00:56:38.606" v="35101" actId="208"/>
          <ac:spMkLst>
            <pc:docMk/>
            <pc:sldMk cId="2768649226" sldId="2141411871"/>
            <ac:spMk id="2" creationId="{A55F9EEC-1677-346E-9FB2-ED7C85DC2D78}"/>
          </ac:spMkLst>
        </pc:spChg>
        <pc:spChg chg="add del mod">
          <ac:chgData name="Gasteiger, Cassidy M" userId="49e4247d-81de-4625-ae16-f189e0b7e529" providerId="ADAL" clId="{EFB976C6-EC52-4602-90C8-86B8954E5255}" dt="2023-03-31T00:53:15.926" v="34431"/>
          <ac:spMkLst>
            <pc:docMk/>
            <pc:sldMk cId="2768649226" sldId="2141411871"/>
            <ac:spMk id="4" creationId="{F6E371C3-60E6-84C3-BA08-3E8435C5F497}"/>
          </ac:spMkLst>
        </pc:spChg>
        <pc:spChg chg="mod">
          <ac:chgData name="Gasteiger, Cassidy M" userId="49e4247d-81de-4625-ae16-f189e0b7e529" providerId="ADAL" clId="{EFB976C6-EC52-4602-90C8-86B8954E5255}" dt="2023-03-31T00:56:30.076" v="35099" actId="20577"/>
          <ac:spMkLst>
            <pc:docMk/>
            <pc:sldMk cId="2768649226" sldId="2141411871"/>
            <ac:spMk id="5" creationId="{EBFB3DC5-377C-0EED-C6B8-200F4CD58E09}"/>
          </ac:spMkLst>
        </pc:spChg>
        <pc:spChg chg="mod">
          <ac:chgData name="Gasteiger, Cassidy M" userId="49e4247d-81de-4625-ae16-f189e0b7e529" providerId="ADAL" clId="{EFB976C6-EC52-4602-90C8-86B8954E5255}" dt="2023-03-31T00:53:35.391" v="34456" actId="20577"/>
          <ac:spMkLst>
            <pc:docMk/>
            <pc:sldMk cId="2768649226" sldId="2141411871"/>
            <ac:spMk id="6" creationId="{7C124A64-309C-B728-4201-B3C215BF08F0}"/>
          </ac:spMkLst>
        </pc:spChg>
        <pc:spChg chg="mod topLvl">
          <ac:chgData name="Gasteiger, Cassidy M" userId="49e4247d-81de-4625-ae16-f189e0b7e529" providerId="ADAL" clId="{EFB976C6-EC52-4602-90C8-86B8954E5255}" dt="2023-03-31T01:21:04.426" v="35180" actId="165"/>
          <ac:spMkLst>
            <pc:docMk/>
            <pc:sldMk cId="2768649226" sldId="2141411871"/>
            <ac:spMk id="10" creationId="{DFA8F594-9088-61D9-CEC3-EBAF25E92FB5}"/>
          </ac:spMkLst>
        </pc:spChg>
        <pc:spChg chg="mod topLvl">
          <ac:chgData name="Gasteiger, Cassidy M" userId="49e4247d-81de-4625-ae16-f189e0b7e529" providerId="ADAL" clId="{EFB976C6-EC52-4602-90C8-86B8954E5255}" dt="2023-03-31T01:21:04.426" v="35180" actId="165"/>
          <ac:spMkLst>
            <pc:docMk/>
            <pc:sldMk cId="2768649226" sldId="2141411871"/>
            <ac:spMk id="11" creationId="{05B34CA0-E848-8128-7413-EA4DC963CD58}"/>
          </ac:spMkLst>
        </pc:spChg>
        <pc:spChg chg="mod">
          <ac:chgData name="Gasteiger, Cassidy M" userId="49e4247d-81de-4625-ae16-f189e0b7e529" providerId="ADAL" clId="{EFB976C6-EC52-4602-90C8-86B8954E5255}" dt="2023-03-31T01:21:45.676" v="35186" actId="14100"/>
          <ac:spMkLst>
            <pc:docMk/>
            <pc:sldMk cId="2768649226" sldId="2141411871"/>
            <ac:spMk id="22" creationId="{2A3B7056-CFFF-2B28-0011-901A139BE317}"/>
          </ac:spMkLst>
        </pc:spChg>
        <pc:spChg chg="mod">
          <ac:chgData name="Gasteiger, Cassidy M" userId="49e4247d-81de-4625-ae16-f189e0b7e529" providerId="ADAL" clId="{EFB976C6-EC52-4602-90C8-86B8954E5255}" dt="2023-03-31T01:21:50.116" v="35187" actId="14100"/>
          <ac:spMkLst>
            <pc:docMk/>
            <pc:sldMk cId="2768649226" sldId="2141411871"/>
            <ac:spMk id="23" creationId="{0C80667E-4F26-E017-3EF1-3A309B1EDF3C}"/>
          </ac:spMkLst>
        </pc:spChg>
        <pc:spChg chg="mod">
          <ac:chgData name="Gasteiger, Cassidy M" userId="49e4247d-81de-4625-ae16-f189e0b7e529" providerId="ADAL" clId="{EFB976C6-EC52-4602-90C8-86B8954E5255}" dt="2023-03-31T01:21:29.316" v="35184" actId="14100"/>
          <ac:spMkLst>
            <pc:docMk/>
            <pc:sldMk cId="2768649226" sldId="2141411871"/>
            <ac:spMk id="24" creationId="{108B5DFE-B001-9F6C-1338-8A54A77187E1}"/>
          </ac:spMkLst>
        </pc:spChg>
        <pc:spChg chg="add del">
          <ac:chgData name="Gasteiger, Cassidy M" userId="49e4247d-81de-4625-ae16-f189e0b7e529" providerId="ADAL" clId="{EFB976C6-EC52-4602-90C8-86B8954E5255}" dt="2023-03-31T00:53:16.401" v="34432" actId="478"/>
          <ac:spMkLst>
            <pc:docMk/>
            <pc:sldMk cId="2768649226" sldId="2141411871"/>
            <ac:spMk id="27" creationId="{04638ED3-1536-3A78-1E41-B66E6DB44344}"/>
          </ac:spMkLst>
        </pc:spChg>
        <pc:spChg chg="del">
          <ac:chgData name="Gasteiger, Cassidy M" userId="49e4247d-81de-4625-ae16-f189e0b7e529" providerId="ADAL" clId="{EFB976C6-EC52-4602-90C8-86B8954E5255}" dt="2023-03-31T02:00:02.956" v="37945" actId="478"/>
          <ac:spMkLst>
            <pc:docMk/>
            <pc:sldMk cId="2768649226" sldId="2141411871"/>
            <ac:spMk id="31" creationId="{0B46D1E9-C3D8-6E13-EA92-3583FB01F01A}"/>
          </ac:spMkLst>
        </pc:spChg>
        <pc:spChg chg="mod">
          <ac:chgData name="Gasteiger, Cassidy M" userId="49e4247d-81de-4625-ae16-f189e0b7e529" providerId="ADAL" clId="{EFB976C6-EC52-4602-90C8-86B8954E5255}" dt="2023-03-31T01:00:25.266" v="35106" actId="208"/>
          <ac:spMkLst>
            <pc:docMk/>
            <pc:sldMk cId="2768649226" sldId="2141411871"/>
            <ac:spMk id="34" creationId="{E21B66A9-5A40-BFA5-666C-5A4552A380CE}"/>
          </ac:spMkLst>
        </pc:spChg>
        <pc:spChg chg="mod">
          <ac:chgData name="Gasteiger, Cassidy M" userId="49e4247d-81de-4625-ae16-f189e0b7e529" providerId="ADAL" clId="{EFB976C6-EC52-4602-90C8-86B8954E5255}" dt="2023-03-31T01:00:12.876" v="35104" actId="20577"/>
          <ac:spMkLst>
            <pc:docMk/>
            <pc:sldMk cId="2768649226" sldId="2141411871"/>
            <ac:spMk id="35" creationId="{5CA49D92-8081-2193-3413-A120808E295A}"/>
          </ac:spMkLst>
        </pc:spChg>
        <pc:spChg chg="del mod topLvl">
          <ac:chgData name="Gasteiger, Cassidy M" userId="49e4247d-81de-4625-ae16-f189e0b7e529" providerId="ADAL" clId="{EFB976C6-EC52-4602-90C8-86B8954E5255}" dt="2023-03-31T01:20:52.080" v="35173" actId="478"/>
          <ac:spMkLst>
            <pc:docMk/>
            <pc:sldMk cId="2768649226" sldId="2141411871"/>
            <ac:spMk id="42" creationId="{CB669411-2B14-3427-CEC6-9EF9283EB146}"/>
          </ac:spMkLst>
        </pc:spChg>
        <pc:spChg chg="del mod topLvl">
          <ac:chgData name="Gasteiger, Cassidy M" userId="49e4247d-81de-4625-ae16-f189e0b7e529" providerId="ADAL" clId="{EFB976C6-EC52-4602-90C8-86B8954E5255}" dt="2023-03-31T01:20:49.511" v="35172" actId="478"/>
          <ac:spMkLst>
            <pc:docMk/>
            <pc:sldMk cId="2768649226" sldId="2141411871"/>
            <ac:spMk id="43" creationId="{04EF24CC-D6A1-26BF-463B-5EC341B035CA}"/>
          </ac:spMkLst>
        </pc:spChg>
        <pc:spChg chg="mod">
          <ac:chgData name="Gasteiger, Cassidy M" userId="49e4247d-81de-4625-ae16-f189e0b7e529" providerId="ADAL" clId="{EFB976C6-EC52-4602-90C8-86B8954E5255}" dt="2023-03-31T01:59:21.220" v="37836" actId="165"/>
          <ac:spMkLst>
            <pc:docMk/>
            <pc:sldMk cId="2768649226" sldId="2141411871"/>
            <ac:spMk id="58" creationId="{5ED461B2-939E-47BC-9B50-0B84C68D05C8}"/>
          </ac:spMkLst>
        </pc:spChg>
        <pc:spChg chg="mod">
          <ac:chgData name="Gasteiger, Cassidy M" userId="49e4247d-81de-4625-ae16-f189e0b7e529" providerId="ADAL" clId="{EFB976C6-EC52-4602-90C8-86B8954E5255}" dt="2023-03-31T01:59:21.220" v="37836" actId="165"/>
          <ac:spMkLst>
            <pc:docMk/>
            <pc:sldMk cId="2768649226" sldId="2141411871"/>
            <ac:spMk id="59" creationId="{DE9E0CD5-CEE2-4DA3-8DA2-C39B7F20DA1E}"/>
          </ac:spMkLst>
        </pc:spChg>
        <pc:spChg chg="mod">
          <ac:chgData name="Gasteiger, Cassidy M" userId="49e4247d-81de-4625-ae16-f189e0b7e529" providerId="ADAL" clId="{EFB976C6-EC52-4602-90C8-86B8954E5255}" dt="2023-03-31T01:59:21.220" v="37836" actId="165"/>
          <ac:spMkLst>
            <pc:docMk/>
            <pc:sldMk cId="2768649226" sldId="2141411871"/>
            <ac:spMk id="60" creationId="{59661C72-48DA-4AF7-8B95-7ABBCEE5B389}"/>
          </ac:spMkLst>
        </pc:spChg>
        <pc:spChg chg="mod">
          <ac:chgData name="Gasteiger, Cassidy M" userId="49e4247d-81de-4625-ae16-f189e0b7e529" providerId="ADAL" clId="{EFB976C6-EC52-4602-90C8-86B8954E5255}" dt="2023-03-31T01:59:21.220" v="37836" actId="165"/>
          <ac:spMkLst>
            <pc:docMk/>
            <pc:sldMk cId="2768649226" sldId="2141411871"/>
            <ac:spMk id="61" creationId="{AB74C3A5-2ED1-427F-A553-3682A3B847DD}"/>
          </ac:spMkLst>
        </pc:spChg>
        <pc:spChg chg="mod">
          <ac:chgData name="Gasteiger, Cassidy M" userId="49e4247d-81de-4625-ae16-f189e0b7e529" providerId="ADAL" clId="{EFB976C6-EC52-4602-90C8-86B8954E5255}" dt="2023-03-31T01:59:21.220" v="37836" actId="165"/>
          <ac:spMkLst>
            <pc:docMk/>
            <pc:sldMk cId="2768649226" sldId="2141411871"/>
            <ac:spMk id="65" creationId="{3FE427A4-0426-48C5-96B3-C84165AC8A89}"/>
          </ac:spMkLst>
        </pc:spChg>
        <pc:spChg chg="mod">
          <ac:chgData name="Gasteiger, Cassidy M" userId="49e4247d-81de-4625-ae16-f189e0b7e529" providerId="ADAL" clId="{EFB976C6-EC52-4602-90C8-86B8954E5255}" dt="2023-03-31T01:59:21.220" v="37836" actId="165"/>
          <ac:spMkLst>
            <pc:docMk/>
            <pc:sldMk cId="2768649226" sldId="2141411871"/>
            <ac:spMk id="66" creationId="{3EB7D8AE-0AF6-408F-BE4D-B9080BED5123}"/>
          </ac:spMkLst>
        </pc:spChg>
        <pc:spChg chg="mod">
          <ac:chgData name="Gasteiger, Cassidy M" userId="49e4247d-81de-4625-ae16-f189e0b7e529" providerId="ADAL" clId="{EFB976C6-EC52-4602-90C8-86B8954E5255}" dt="2023-03-31T01:59:21.220" v="37836" actId="165"/>
          <ac:spMkLst>
            <pc:docMk/>
            <pc:sldMk cId="2768649226" sldId="2141411871"/>
            <ac:spMk id="67" creationId="{EC9ADC40-A8A2-40F9-9A8F-B6CC61638B19}"/>
          </ac:spMkLst>
        </pc:spChg>
        <pc:spChg chg="mod">
          <ac:chgData name="Gasteiger, Cassidy M" userId="49e4247d-81de-4625-ae16-f189e0b7e529" providerId="ADAL" clId="{EFB976C6-EC52-4602-90C8-86B8954E5255}" dt="2023-03-31T01:59:21.220" v="37836" actId="165"/>
          <ac:spMkLst>
            <pc:docMk/>
            <pc:sldMk cId="2768649226" sldId="2141411871"/>
            <ac:spMk id="68" creationId="{9E565163-6CCA-4289-8A15-07389DB32579}"/>
          </ac:spMkLst>
        </pc:spChg>
        <pc:spChg chg="mod">
          <ac:chgData name="Gasteiger, Cassidy M" userId="49e4247d-81de-4625-ae16-f189e0b7e529" providerId="ADAL" clId="{EFB976C6-EC52-4602-90C8-86B8954E5255}" dt="2023-03-31T02:00:37.779" v="37948" actId="164"/>
          <ac:spMkLst>
            <pc:docMk/>
            <pc:sldMk cId="2768649226" sldId="2141411871"/>
            <ac:spMk id="71" creationId="{174293CE-2CF8-4846-A9E3-F79C7BB02611}"/>
          </ac:spMkLst>
        </pc:spChg>
        <pc:spChg chg="mod">
          <ac:chgData name="Gasteiger, Cassidy M" userId="49e4247d-81de-4625-ae16-f189e0b7e529" providerId="ADAL" clId="{EFB976C6-EC52-4602-90C8-86B8954E5255}" dt="2023-03-31T00:53:40.311" v="34475" actId="20577"/>
          <ac:spMkLst>
            <pc:docMk/>
            <pc:sldMk cId="2768649226" sldId="2141411871"/>
            <ac:spMk id="72" creationId="{59EC09CD-1321-4E78-BB2B-743224ACC103}"/>
          </ac:spMkLst>
        </pc:spChg>
        <pc:spChg chg="mod">
          <ac:chgData name="Gasteiger, Cassidy M" userId="49e4247d-81de-4625-ae16-f189e0b7e529" providerId="ADAL" clId="{EFB976C6-EC52-4602-90C8-86B8954E5255}" dt="2023-03-31T02:47:51.442" v="41019" actId="20577"/>
          <ac:spMkLst>
            <pc:docMk/>
            <pc:sldMk cId="2768649226" sldId="2141411871"/>
            <ac:spMk id="76" creationId="{EC9CD986-3A92-498D-8C81-062A9F1E26A3}"/>
          </ac:spMkLst>
        </pc:spChg>
        <pc:spChg chg="mod">
          <ac:chgData name="Gasteiger, Cassidy M" userId="49e4247d-81de-4625-ae16-f189e0b7e529" providerId="ADAL" clId="{EFB976C6-EC52-4602-90C8-86B8954E5255}" dt="2023-03-31T02:00:41.710" v="37949" actId="164"/>
          <ac:spMkLst>
            <pc:docMk/>
            <pc:sldMk cId="2768649226" sldId="2141411871"/>
            <ac:spMk id="77" creationId="{F9A867D8-6AEB-4F9B-9C85-DCAC046AB671}"/>
          </ac:spMkLst>
        </pc:spChg>
        <pc:spChg chg="mod">
          <ac:chgData name="Gasteiger, Cassidy M" userId="49e4247d-81de-4625-ae16-f189e0b7e529" providerId="ADAL" clId="{EFB976C6-EC52-4602-90C8-86B8954E5255}" dt="2023-03-31T02:00:37.779" v="37948" actId="164"/>
          <ac:spMkLst>
            <pc:docMk/>
            <pc:sldMk cId="2768649226" sldId="2141411871"/>
            <ac:spMk id="81" creationId="{022B74DA-185F-47C9-9209-C3A125FC9963}"/>
          </ac:spMkLst>
        </pc:spChg>
        <pc:spChg chg="mod">
          <ac:chgData name="Gasteiger, Cassidy M" userId="49e4247d-81de-4625-ae16-f189e0b7e529" providerId="ADAL" clId="{EFB976C6-EC52-4602-90C8-86B8954E5255}" dt="2023-03-31T02:00:37.779" v="37948" actId="164"/>
          <ac:spMkLst>
            <pc:docMk/>
            <pc:sldMk cId="2768649226" sldId="2141411871"/>
            <ac:spMk id="84" creationId="{0D5C3EB7-ECBD-4EDE-8E52-26C8C96EBA3C}"/>
          </ac:spMkLst>
        </pc:spChg>
        <pc:spChg chg="mod">
          <ac:chgData name="Gasteiger, Cassidy M" userId="49e4247d-81de-4625-ae16-f189e0b7e529" providerId="ADAL" clId="{EFB976C6-EC52-4602-90C8-86B8954E5255}" dt="2023-03-31T02:00:37.779" v="37948" actId="164"/>
          <ac:spMkLst>
            <pc:docMk/>
            <pc:sldMk cId="2768649226" sldId="2141411871"/>
            <ac:spMk id="85" creationId="{B2693CFF-6C22-4C92-B210-B55087FF9487}"/>
          </ac:spMkLst>
        </pc:spChg>
        <pc:spChg chg="mod topLvl">
          <ac:chgData name="Gasteiger, Cassidy M" userId="49e4247d-81de-4625-ae16-f189e0b7e529" providerId="ADAL" clId="{EFB976C6-EC52-4602-90C8-86B8954E5255}" dt="2023-03-31T01:59:31.406" v="37839" actId="164"/>
          <ac:spMkLst>
            <pc:docMk/>
            <pc:sldMk cId="2768649226" sldId="2141411871"/>
            <ac:spMk id="106" creationId="{728CD11D-C6CE-40F0-ABC2-92A29DD44D7B}"/>
          </ac:spMkLst>
        </pc:spChg>
        <pc:grpChg chg="del">
          <ac:chgData name="Gasteiger, Cassidy M" userId="49e4247d-81de-4625-ae16-f189e0b7e529" providerId="ADAL" clId="{EFB976C6-EC52-4602-90C8-86B8954E5255}" dt="2023-03-31T01:59:21.220" v="37836" actId="165"/>
          <ac:grpSpMkLst>
            <pc:docMk/>
            <pc:sldMk cId="2768649226" sldId="2141411871"/>
            <ac:grpSpMk id="3" creationId="{D786BB74-D258-4FAB-8E5F-8613DF204887}"/>
          </ac:grpSpMkLst>
        </pc:grpChg>
        <pc:grpChg chg="add del">
          <ac:chgData name="Gasteiger, Cassidy M" userId="49e4247d-81de-4625-ae16-f189e0b7e529" providerId="ADAL" clId="{EFB976C6-EC52-4602-90C8-86B8954E5255}" dt="2023-03-31T01:21:04.426" v="35180" actId="165"/>
          <ac:grpSpMkLst>
            <pc:docMk/>
            <pc:sldMk cId="2768649226" sldId="2141411871"/>
            <ac:grpSpMk id="8" creationId="{271E49BB-824B-7426-B2CF-BD658ED2B133}"/>
          </ac:grpSpMkLst>
        </pc:grpChg>
        <pc:grpChg chg="add del mod">
          <ac:chgData name="Gasteiger, Cassidy M" userId="49e4247d-81de-4625-ae16-f189e0b7e529" providerId="ADAL" clId="{EFB976C6-EC52-4602-90C8-86B8954E5255}" dt="2023-03-31T01:19:59.176" v="35160" actId="165"/>
          <ac:grpSpMkLst>
            <pc:docMk/>
            <pc:sldMk cId="2768649226" sldId="2141411871"/>
            <ac:grpSpMk id="40" creationId="{EF7A6195-C64B-CB8A-979E-A9750E472907}"/>
          </ac:grpSpMkLst>
        </pc:grpChg>
        <pc:grpChg chg="add mod">
          <ac:chgData name="Gasteiger, Cassidy M" userId="49e4247d-81de-4625-ae16-f189e0b7e529" providerId="ADAL" clId="{EFB976C6-EC52-4602-90C8-86B8954E5255}" dt="2023-03-31T02:00:49.326" v="37950" actId="1076"/>
          <ac:grpSpMkLst>
            <pc:docMk/>
            <pc:sldMk cId="2768649226" sldId="2141411871"/>
            <ac:grpSpMk id="45" creationId="{52E2D687-4D74-3B22-3203-0B2048AE7D6B}"/>
          </ac:grpSpMkLst>
        </pc:grpChg>
        <pc:grpChg chg="add mod">
          <ac:chgData name="Gasteiger, Cassidy M" userId="49e4247d-81de-4625-ae16-f189e0b7e529" providerId="ADAL" clId="{EFB976C6-EC52-4602-90C8-86B8954E5255}" dt="2023-03-31T02:00:41.710" v="37949" actId="164"/>
          <ac:grpSpMkLst>
            <pc:docMk/>
            <pc:sldMk cId="2768649226" sldId="2141411871"/>
            <ac:grpSpMk id="46" creationId="{8BF9ED32-F93C-7B97-0C1C-F23367ECE5AF}"/>
          </ac:grpSpMkLst>
        </pc:grpChg>
        <pc:grpChg chg="add mod">
          <ac:chgData name="Gasteiger, Cassidy M" userId="49e4247d-81de-4625-ae16-f189e0b7e529" providerId="ADAL" clId="{EFB976C6-EC52-4602-90C8-86B8954E5255}" dt="2023-03-31T02:00:41.710" v="37949" actId="164"/>
          <ac:grpSpMkLst>
            <pc:docMk/>
            <pc:sldMk cId="2768649226" sldId="2141411871"/>
            <ac:grpSpMk id="47" creationId="{F84BAE12-9330-0638-7B1C-8B3B4FD3B427}"/>
          </ac:grpSpMkLst>
        </pc:grpChg>
        <pc:grpChg chg="mod topLvl">
          <ac:chgData name="Gasteiger, Cassidy M" userId="49e4247d-81de-4625-ae16-f189e0b7e529" providerId="ADAL" clId="{EFB976C6-EC52-4602-90C8-86B8954E5255}" dt="2023-03-31T01:59:31.406" v="37839" actId="164"/>
          <ac:grpSpMkLst>
            <pc:docMk/>
            <pc:sldMk cId="2768649226" sldId="2141411871"/>
            <ac:grpSpMk id="55" creationId="{6E294DC9-3D2D-43FC-88E0-A2C5EF8B0A14}"/>
          </ac:grpSpMkLst>
        </pc:grpChg>
        <pc:grpChg chg="mod">
          <ac:chgData name="Gasteiger, Cassidy M" userId="49e4247d-81de-4625-ae16-f189e0b7e529" providerId="ADAL" clId="{EFB976C6-EC52-4602-90C8-86B8954E5255}" dt="2023-03-31T01:59:21.220" v="37836" actId="165"/>
          <ac:grpSpMkLst>
            <pc:docMk/>
            <pc:sldMk cId="2768649226" sldId="2141411871"/>
            <ac:grpSpMk id="56" creationId="{81A2A58B-665E-42A8-BCAF-AEAA04DF7762}"/>
          </ac:grpSpMkLst>
        </pc:grpChg>
        <pc:grpChg chg="mod">
          <ac:chgData name="Gasteiger, Cassidy M" userId="49e4247d-81de-4625-ae16-f189e0b7e529" providerId="ADAL" clId="{EFB976C6-EC52-4602-90C8-86B8954E5255}" dt="2023-03-31T01:59:21.220" v="37836" actId="165"/>
          <ac:grpSpMkLst>
            <pc:docMk/>
            <pc:sldMk cId="2768649226" sldId="2141411871"/>
            <ac:grpSpMk id="57" creationId="{F9C103CA-A4E0-4A3D-AD44-F68A5A033056}"/>
          </ac:grpSpMkLst>
        </pc:grpChg>
        <pc:grpChg chg="mod topLvl">
          <ac:chgData name="Gasteiger, Cassidy M" userId="49e4247d-81de-4625-ae16-f189e0b7e529" providerId="ADAL" clId="{EFB976C6-EC52-4602-90C8-86B8954E5255}" dt="2023-03-31T01:59:31.406" v="37839" actId="164"/>
          <ac:grpSpMkLst>
            <pc:docMk/>
            <pc:sldMk cId="2768649226" sldId="2141411871"/>
            <ac:grpSpMk id="62" creationId="{B490BC8B-7117-4FF9-866A-696EDE7F834D}"/>
          </ac:grpSpMkLst>
        </pc:grpChg>
        <pc:grpChg chg="mod">
          <ac:chgData name="Gasteiger, Cassidy M" userId="49e4247d-81de-4625-ae16-f189e0b7e529" providerId="ADAL" clId="{EFB976C6-EC52-4602-90C8-86B8954E5255}" dt="2023-03-31T01:59:21.220" v="37836" actId="165"/>
          <ac:grpSpMkLst>
            <pc:docMk/>
            <pc:sldMk cId="2768649226" sldId="2141411871"/>
            <ac:grpSpMk id="63" creationId="{6E37621E-AED1-4FAE-97A8-83E9301E91E7}"/>
          </ac:grpSpMkLst>
        </pc:grpChg>
        <pc:grpChg chg="mod">
          <ac:chgData name="Gasteiger, Cassidy M" userId="49e4247d-81de-4625-ae16-f189e0b7e529" providerId="ADAL" clId="{EFB976C6-EC52-4602-90C8-86B8954E5255}" dt="2023-03-31T01:59:21.220" v="37836" actId="165"/>
          <ac:grpSpMkLst>
            <pc:docMk/>
            <pc:sldMk cId="2768649226" sldId="2141411871"/>
            <ac:grpSpMk id="64" creationId="{B0113D10-2DC8-4A82-A3B4-82B6E4575A9E}"/>
          </ac:grpSpMkLst>
        </pc:grpChg>
        <pc:graphicFrameChg chg="del mod topLvl">
          <ac:chgData name="Gasteiger, Cassidy M" userId="49e4247d-81de-4625-ae16-f189e0b7e529" providerId="ADAL" clId="{EFB976C6-EC52-4602-90C8-86B8954E5255}" dt="2023-03-31T01:21:07.096" v="35181" actId="478"/>
          <ac:graphicFrameMkLst>
            <pc:docMk/>
            <pc:sldMk cId="2768649226" sldId="2141411871"/>
            <ac:graphicFrameMk id="9" creationId="{5F7FF21B-43E7-9517-30CA-5E8D57E00EF3}"/>
          </ac:graphicFrameMkLst>
        </pc:graphicFrameChg>
        <pc:graphicFrameChg chg="modGraphic">
          <ac:chgData name="Gasteiger, Cassidy M" userId="49e4247d-81de-4625-ae16-f189e0b7e529" providerId="ADAL" clId="{EFB976C6-EC52-4602-90C8-86B8954E5255}" dt="2023-03-31T01:17:14.147" v="35150" actId="14100"/>
          <ac:graphicFrameMkLst>
            <pc:docMk/>
            <pc:sldMk cId="2768649226" sldId="2141411871"/>
            <ac:graphicFrameMk id="12" creationId="{5FD1E7DE-1325-C761-497C-15D504247D00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1T01:16:58.874" v="35147" actId="478"/>
          <ac:graphicFrameMkLst>
            <pc:docMk/>
            <pc:sldMk cId="2768649226" sldId="2141411871"/>
            <ac:graphicFrameMk id="13" creationId="{9C8A484B-75F8-A8A7-ED2A-FE32EFE46B65}"/>
          </ac:graphicFrameMkLst>
        </pc:graphicFrameChg>
        <pc:graphicFrameChg chg="modGraphic">
          <ac:chgData name="Gasteiger, Cassidy M" userId="49e4247d-81de-4625-ae16-f189e0b7e529" providerId="ADAL" clId="{EFB976C6-EC52-4602-90C8-86B8954E5255}" dt="2023-03-31T01:25:23.318" v="35242" actId="20577"/>
          <ac:graphicFrameMkLst>
            <pc:docMk/>
            <pc:sldMk cId="2768649226" sldId="2141411871"/>
            <ac:graphicFrameMk id="17" creationId="{640AA33B-19AD-7D4E-8322-ACAE5A38B875}"/>
          </ac:graphicFrameMkLst>
        </pc:graphicFrameChg>
        <pc:graphicFrameChg chg="del">
          <ac:chgData name="Gasteiger, Cassidy M" userId="49e4247d-81de-4625-ae16-f189e0b7e529" providerId="ADAL" clId="{EFB976C6-EC52-4602-90C8-86B8954E5255}" dt="2023-03-31T01:25:03.516" v="35207" actId="478"/>
          <ac:graphicFrameMkLst>
            <pc:docMk/>
            <pc:sldMk cId="2768649226" sldId="2141411871"/>
            <ac:graphicFrameMk id="18" creationId="{91EF8066-D8FA-9859-7703-A47166A52DBE}"/>
          </ac:graphicFrameMkLst>
        </pc:graphicFrameChg>
        <pc:graphicFrameChg chg="add del mod">
          <ac:chgData name="Gasteiger, Cassidy M" userId="49e4247d-81de-4625-ae16-f189e0b7e529" providerId="ADAL" clId="{EFB976C6-EC52-4602-90C8-86B8954E5255}" dt="2023-03-31T01:15:32.186" v="35131" actId="478"/>
          <ac:graphicFrameMkLst>
            <pc:docMk/>
            <pc:sldMk cId="2768649226" sldId="2141411871"/>
            <ac:graphicFrameMk id="25" creationId="{3CC7615B-F300-CCD8-AF65-11BC9A5D037B}"/>
          </ac:graphicFrameMkLst>
        </pc:graphicFrameChg>
        <pc:graphicFrameChg chg="add mod">
          <ac:chgData name="Gasteiger, Cassidy M" userId="49e4247d-81de-4625-ae16-f189e0b7e529" providerId="ADAL" clId="{EFB976C6-EC52-4602-90C8-86B8954E5255}" dt="2023-03-31T01:17:26.567" v="35152"/>
          <ac:graphicFrameMkLst>
            <pc:docMk/>
            <pc:sldMk cId="2768649226" sldId="2141411871"/>
            <ac:graphicFrameMk id="28" creationId="{8A1C793E-143E-B353-2C56-2878E534F6A5}"/>
          </ac:graphicFrameMkLst>
        </pc:graphicFrameChg>
        <pc:graphicFrameChg chg="mod topLvl">
          <ac:chgData name="Gasteiger, Cassidy M" userId="49e4247d-81de-4625-ae16-f189e0b7e529" providerId="ADAL" clId="{EFB976C6-EC52-4602-90C8-86B8954E5255}" dt="2023-03-31T01:21:12.599" v="35182" actId="1076"/>
          <ac:graphicFrameMkLst>
            <pc:docMk/>
            <pc:sldMk cId="2768649226" sldId="2141411871"/>
            <ac:graphicFrameMk id="41" creationId="{48A96851-0DCC-AC4B-4C04-9801459CB92E}"/>
          </ac:graphicFrameMkLst>
        </pc:graphicFrameChg>
        <pc:graphicFrameChg chg="add mod">
          <ac:chgData name="Gasteiger, Cassidy M" userId="49e4247d-81de-4625-ae16-f189e0b7e529" providerId="ADAL" clId="{EFB976C6-EC52-4602-90C8-86B8954E5255}" dt="2023-03-31T01:25:36.027" v="35244"/>
          <ac:graphicFrameMkLst>
            <pc:docMk/>
            <pc:sldMk cId="2768649226" sldId="2141411871"/>
            <ac:graphicFrameMk id="44" creationId="{899A65ED-046E-3978-3224-4F9EB400A9D4}"/>
          </ac:graphicFrameMkLst>
        </pc:graphicFrameChg>
        <pc:picChg chg="add mod">
          <ac:chgData name="Gasteiger, Cassidy M" userId="49e4247d-81de-4625-ae16-f189e0b7e529" providerId="ADAL" clId="{EFB976C6-EC52-4602-90C8-86B8954E5255}" dt="2023-03-31T00:53:31.478" v="34437" actId="1076"/>
          <ac:picMkLst>
            <pc:docMk/>
            <pc:sldMk cId="2768649226" sldId="2141411871"/>
            <ac:picMk id="7" creationId="{4F98082B-3E8D-AD8C-4309-DCC2AA7A2176}"/>
          </ac:picMkLst>
        </pc:picChg>
        <pc:picChg chg="del">
          <ac:chgData name="Gasteiger, Cassidy M" userId="49e4247d-81de-4625-ae16-f189e0b7e529" providerId="ADAL" clId="{EFB976C6-EC52-4602-90C8-86B8954E5255}" dt="2023-03-31T00:53:29.238" v="34435" actId="478"/>
          <ac:picMkLst>
            <pc:docMk/>
            <pc:sldMk cId="2768649226" sldId="2141411871"/>
            <ac:picMk id="28" creationId="{DCD9C922-0167-B6CF-8A36-BAC8E60C0920}"/>
          </ac:picMkLst>
        </pc:picChg>
      </pc:sldChg>
      <pc:sldChg chg="modSp add mod">
        <pc:chgData name="Gasteiger, Cassidy M" userId="49e4247d-81de-4625-ae16-f189e0b7e529" providerId="ADAL" clId="{EFB976C6-EC52-4602-90C8-86B8954E5255}" dt="2023-03-31T02:30:24.362" v="39526" actId="1076"/>
        <pc:sldMkLst>
          <pc:docMk/>
          <pc:sldMk cId="1124443298" sldId="2141411872"/>
        </pc:sldMkLst>
        <pc:spChg chg="mod">
          <ac:chgData name="Gasteiger, Cassidy M" userId="49e4247d-81de-4625-ae16-f189e0b7e529" providerId="ADAL" clId="{EFB976C6-EC52-4602-90C8-86B8954E5255}" dt="2023-03-31T02:30:21.857" v="39525" actId="1076"/>
          <ac:spMkLst>
            <pc:docMk/>
            <pc:sldMk cId="1124443298" sldId="2141411872"/>
            <ac:spMk id="9" creationId="{EBC0E95E-0A34-7E94-5E51-E93F89EE6CD4}"/>
          </ac:spMkLst>
        </pc:spChg>
        <pc:spChg chg="mod">
          <ac:chgData name="Gasteiger, Cassidy M" userId="49e4247d-81de-4625-ae16-f189e0b7e529" providerId="ADAL" clId="{EFB976C6-EC52-4602-90C8-86B8954E5255}" dt="2023-03-31T02:30:24.362" v="39526" actId="1076"/>
          <ac:spMkLst>
            <pc:docMk/>
            <pc:sldMk cId="1124443298" sldId="2141411872"/>
            <ac:spMk id="52" creationId="{1A1A3476-630A-F24C-072F-379460380E5D}"/>
          </ac:spMkLst>
        </pc:spChg>
      </pc:sldChg>
      <pc:sldChg chg="add del">
        <pc:chgData name="Gasteiger, Cassidy M" userId="49e4247d-81de-4625-ae16-f189e0b7e529" providerId="ADAL" clId="{EFB976C6-EC52-4602-90C8-86B8954E5255}" dt="2023-03-31T02:05:41.821" v="38329" actId="2696"/>
        <pc:sldMkLst>
          <pc:docMk/>
          <pc:sldMk cId="4267141829" sldId="2141411872"/>
        </pc:sldMkLst>
      </pc:sldChg>
      <pc:sldChg chg="del">
        <pc:chgData name="Gasteiger, Cassidy M" userId="49e4247d-81de-4625-ae16-f189e0b7e529" providerId="ADAL" clId="{EFB976C6-EC52-4602-90C8-86B8954E5255}" dt="2023-03-31T03:31:24.731" v="41567" actId="2696"/>
        <pc:sldMkLst>
          <pc:docMk/>
          <pc:sldMk cId="75299640" sldId="2141411873"/>
        </pc:sldMkLst>
      </pc:sldChg>
      <pc:sldChg chg="addSp delSp modSp mod ord">
        <pc:chgData name="Gasteiger, Cassidy M" userId="49e4247d-81de-4625-ae16-f189e0b7e529" providerId="ADAL" clId="{EFB976C6-EC52-4602-90C8-86B8954E5255}" dt="2023-03-31T03:30:10.642" v="41566" actId="1076"/>
        <pc:sldMkLst>
          <pc:docMk/>
          <pc:sldMk cId="3071891337" sldId="2141411874"/>
        </pc:sldMkLst>
        <pc:spChg chg="mod">
          <ac:chgData name="Gasteiger, Cassidy M" userId="49e4247d-81de-4625-ae16-f189e0b7e529" providerId="ADAL" clId="{EFB976C6-EC52-4602-90C8-86B8954E5255}" dt="2023-03-31T03:23:12.465" v="41246" actId="20577"/>
          <ac:spMkLst>
            <pc:docMk/>
            <pc:sldMk cId="3071891337" sldId="2141411874"/>
            <ac:spMk id="3" creationId="{CA412C6D-FEBC-21B2-9280-5FB27B56E35F}"/>
          </ac:spMkLst>
        </pc:spChg>
        <pc:spChg chg="add del mod">
          <ac:chgData name="Gasteiger, Cassidy M" userId="49e4247d-81de-4625-ae16-f189e0b7e529" providerId="ADAL" clId="{EFB976C6-EC52-4602-90C8-86B8954E5255}" dt="2023-03-31T03:25:46.652" v="41316" actId="478"/>
          <ac:spMkLst>
            <pc:docMk/>
            <pc:sldMk cId="3071891337" sldId="2141411874"/>
            <ac:spMk id="5" creationId="{31478162-209E-8339-6546-50EFEFA35E85}"/>
          </ac:spMkLst>
        </pc:spChg>
        <pc:spChg chg="add mod">
          <ac:chgData name="Gasteiger, Cassidy M" userId="49e4247d-81de-4625-ae16-f189e0b7e529" providerId="ADAL" clId="{EFB976C6-EC52-4602-90C8-86B8954E5255}" dt="2023-03-31T03:27:25.862" v="41552" actId="14100"/>
          <ac:spMkLst>
            <pc:docMk/>
            <pc:sldMk cId="3071891337" sldId="2141411874"/>
            <ac:spMk id="6" creationId="{8979855B-F1C7-71D0-A611-FA05C250051B}"/>
          </ac:spMkLst>
        </pc:spChg>
        <pc:spChg chg="add mod">
          <ac:chgData name="Gasteiger, Cassidy M" userId="49e4247d-81de-4625-ae16-f189e0b7e529" providerId="ADAL" clId="{EFB976C6-EC52-4602-90C8-86B8954E5255}" dt="2023-03-31T03:27:19.586" v="41524" actId="164"/>
          <ac:spMkLst>
            <pc:docMk/>
            <pc:sldMk cId="3071891337" sldId="2141411874"/>
            <ac:spMk id="7" creationId="{D6B38332-E395-E980-B9DB-5B272D96FDB8}"/>
          </ac:spMkLst>
        </pc:spChg>
        <pc:spChg chg="add mod">
          <ac:chgData name="Gasteiger, Cassidy M" userId="49e4247d-81de-4625-ae16-f189e0b7e529" providerId="ADAL" clId="{EFB976C6-EC52-4602-90C8-86B8954E5255}" dt="2023-03-31T03:27:19.586" v="41524" actId="164"/>
          <ac:spMkLst>
            <pc:docMk/>
            <pc:sldMk cId="3071891337" sldId="2141411874"/>
            <ac:spMk id="8" creationId="{0FF0AC23-3D12-37ED-2F7E-E37972B6D76A}"/>
          </ac:spMkLst>
        </pc:spChg>
        <pc:spChg chg="add mod">
          <ac:chgData name="Gasteiger, Cassidy M" userId="49e4247d-81de-4625-ae16-f189e0b7e529" providerId="ADAL" clId="{EFB976C6-EC52-4602-90C8-86B8954E5255}" dt="2023-03-31T03:27:07.330" v="41501" actId="164"/>
          <ac:spMkLst>
            <pc:docMk/>
            <pc:sldMk cId="3071891337" sldId="2141411874"/>
            <ac:spMk id="9" creationId="{0560A8A4-F043-D1E5-7F1D-32ED6240CF40}"/>
          </ac:spMkLst>
        </pc:spChg>
        <pc:spChg chg="del mod">
          <ac:chgData name="Gasteiger, Cassidy M" userId="49e4247d-81de-4625-ae16-f189e0b7e529" providerId="ADAL" clId="{EFB976C6-EC52-4602-90C8-86B8954E5255}" dt="2023-03-31T03:22:49.360" v="41220" actId="478"/>
          <ac:spMkLst>
            <pc:docMk/>
            <pc:sldMk cId="3071891337" sldId="2141411874"/>
            <ac:spMk id="10" creationId="{2BE95F10-8E32-B298-B8DF-C71624633BCC}"/>
          </ac:spMkLst>
        </pc:spChg>
        <pc:spChg chg="add mod">
          <ac:chgData name="Gasteiger, Cassidy M" userId="49e4247d-81de-4625-ae16-f189e0b7e529" providerId="ADAL" clId="{EFB976C6-EC52-4602-90C8-86B8954E5255}" dt="2023-03-31T03:27:07.330" v="41501" actId="164"/>
          <ac:spMkLst>
            <pc:docMk/>
            <pc:sldMk cId="3071891337" sldId="2141411874"/>
            <ac:spMk id="11" creationId="{EB4A3EC4-2C79-8A8D-E71A-CE2514485A58}"/>
          </ac:spMkLst>
        </pc:spChg>
        <pc:spChg chg="add mod">
          <ac:chgData name="Gasteiger, Cassidy M" userId="49e4247d-81de-4625-ae16-f189e0b7e529" providerId="ADAL" clId="{EFB976C6-EC52-4602-90C8-86B8954E5255}" dt="2023-03-31T03:27:13.055" v="41523" actId="14100"/>
          <ac:spMkLst>
            <pc:docMk/>
            <pc:sldMk cId="3071891337" sldId="2141411874"/>
            <ac:spMk id="12" creationId="{E80E7DEA-934C-B4F2-30EE-314EA759D590}"/>
          </ac:spMkLst>
        </pc:spChg>
        <pc:spChg chg="mod">
          <ac:chgData name="Gasteiger, Cassidy M" userId="49e4247d-81de-4625-ae16-f189e0b7e529" providerId="ADAL" clId="{EFB976C6-EC52-4602-90C8-86B8954E5255}" dt="2023-03-31T03:27:58.777" v="41553"/>
          <ac:spMkLst>
            <pc:docMk/>
            <pc:sldMk cId="3071891337" sldId="2141411874"/>
            <ac:spMk id="16" creationId="{3CE734FF-591E-3E38-1602-623E76824E06}"/>
          </ac:spMkLst>
        </pc:spChg>
        <pc:spChg chg="mod">
          <ac:chgData name="Gasteiger, Cassidy M" userId="49e4247d-81de-4625-ae16-f189e0b7e529" providerId="ADAL" clId="{EFB976C6-EC52-4602-90C8-86B8954E5255}" dt="2023-03-31T03:27:58.777" v="41553"/>
          <ac:spMkLst>
            <pc:docMk/>
            <pc:sldMk cId="3071891337" sldId="2141411874"/>
            <ac:spMk id="17" creationId="{17EC9039-C6BD-ABF0-7B1E-E8E863437D87}"/>
          </ac:spMkLst>
        </pc:spChg>
        <pc:grpChg chg="add mod ord">
          <ac:chgData name="Gasteiger, Cassidy M" userId="49e4247d-81de-4625-ae16-f189e0b7e529" providerId="ADAL" clId="{EFB976C6-EC52-4602-90C8-86B8954E5255}" dt="2023-03-31T03:28:59.967" v="41556" actId="166"/>
          <ac:grpSpMkLst>
            <pc:docMk/>
            <pc:sldMk cId="3071891337" sldId="2141411874"/>
            <ac:grpSpMk id="13" creationId="{BB46044A-A38D-7593-1BA9-D179C3AFFD2D}"/>
          </ac:grpSpMkLst>
        </pc:grpChg>
        <pc:grpChg chg="add mod ord">
          <ac:chgData name="Gasteiger, Cassidy M" userId="49e4247d-81de-4625-ae16-f189e0b7e529" providerId="ADAL" clId="{EFB976C6-EC52-4602-90C8-86B8954E5255}" dt="2023-03-31T03:29:08.597" v="41559" actId="1035"/>
          <ac:grpSpMkLst>
            <pc:docMk/>
            <pc:sldMk cId="3071891337" sldId="2141411874"/>
            <ac:grpSpMk id="14" creationId="{1351B634-3819-D463-9A49-DE12C93B2048}"/>
          </ac:grpSpMkLst>
        </pc:grpChg>
        <pc:grpChg chg="add mod">
          <ac:chgData name="Gasteiger, Cassidy M" userId="49e4247d-81de-4625-ae16-f189e0b7e529" providerId="ADAL" clId="{EFB976C6-EC52-4602-90C8-86B8954E5255}" dt="2023-03-31T03:28:04.872" v="41554" actId="1076"/>
          <ac:grpSpMkLst>
            <pc:docMk/>
            <pc:sldMk cId="3071891337" sldId="2141411874"/>
            <ac:grpSpMk id="15" creationId="{9AD52A64-593F-74B2-B563-F2CFB6A77675}"/>
          </ac:grpSpMkLst>
        </pc:grpChg>
        <pc:picChg chg="add del mod">
          <ac:chgData name="Gasteiger, Cassidy M" userId="49e4247d-81de-4625-ae16-f189e0b7e529" providerId="ADAL" clId="{EFB976C6-EC52-4602-90C8-86B8954E5255}" dt="2023-03-31T03:28:07.376" v="41555" actId="478"/>
          <ac:picMkLst>
            <pc:docMk/>
            <pc:sldMk cId="3071891337" sldId="2141411874"/>
            <ac:picMk id="18" creationId="{ACAF195A-317F-474B-9820-B4FB0CE839AB}"/>
          </ac:picMkLst>
        </pc:picChg>
        <pc:picChg chg="add mod">
          <ac:chgData name="Gasteiger, Cassidy M" userId="49e4247d-81de-4625-ae16-f189e0b7e529" providerId="ADAL" clId="{EFB976C6-EC52-4602-90C8-86B8954E5255}" dt="2023-03-31T03:30:10.642" v="41566" actId="1076"/>
          <ac:picMkLst>
            <pc:docMk/>
            <pc:sldMk cId="3071891337" sldId="2141411874"/>
            <ac:picMk id="20" creationId="{4A52AD54-8251-A5D4-F601-3A36D4E3DB32}"/>
          </ac:picMkLst>
        </pc:picChg>
      </pc:sldChg>
      <pc:sldChg chg="modSp add mod ord">
        <pc:chgData name="Gasteiger, Cassidy M" userId="49e4247d-81de-4625-ae16-f189e0b7e529" providerId="ADAL" clId="{EFB976C6-EC52-4602-90C8-86B8954E5255}" dt="2023-03-31T03:37:09.035" v="41630" actId="207"/>
        <pc:sldMkLst>
          <pc:docMk/>
          <pc:sldMk cId="706543021" sldId="2141411875"/>
        </pc:sldMkLst>
        <pc:spChg chg="mod">
          <ac:chgData name="Gasteiger, Cassidy M" userId="49e4247d-81de-4625-ae16-f189e0b7e529" providerId="ADAL" clId="{EFB976C6-EC52-4602-90C8-86B8954E5255}" dt="2023-03-31T03:37:05.399" v="41629" actId="207"/>
          <ac:spMkLst>
            <pc:docMk/>
            <pc:sldMk cId="706543021" sldId="2141411875"/>
            <ac:spMk id="10" creationId="{29980911-3E67-8701-4E55-CD8978F98F6A}"/>
          </ac:spMkLst>
        </pc:spChg>
        <pc:spChg chg="mod">
          <ac:chgData name="Gasteiger, Cassidy M" userId="49e4247d-81de-4625-ae16-f189e0b7e529" providerId="ADAL" clId="{EFB976C6-EC52-4602-90C8-86B8954E5255}" dt="2023-03-31T03:37:09.035" v="41630" actId="207"/>
          <ac:spMkLst>
            <pc:docMk/>
            <pc:sldMk cId="706543021" sldId="2141411875"/>
            <ac:spMk id="15" creationId="{1AE94B59-9087-3A30-3ED4-D89E737D2B60}"/>
          </ac:spMkLst>
        </pc:spChg>
      </pc:sldChg>
      <pc:sldChg chg="modSp add mod ord">
        <pc:chgData name="Gasteiger, Cassidy M" userId="49e4247d-81de-4625-ae16-f189e0b7e529" providerId="ADAL" clId="{EFB976C6-EC52-4602-90C8-86B8954E5255}" dt="2023-03-31T03:38:32.180" v="41644" actId="207"/>
        <pc:sldMkLst>
          <pc:docMk/>
          <pc:sldMk cId="909057292" sldId="2141411876"/>
        </pc:sldMkLst>
        <pc:spChg chg="mod">
          <ac:chgData name="Gasteiger, Cassidy M" userId="49e4247d-81de-4625-ae16-f189e0b7e529" providerId="ADAL" clId="{EFB976C6-EC52-4602-90C8-86B8954E5255}" dt="2023-03-31T03:38:29.049" v="41643" actId="207"/>
          <ac:spMkLst>
            <pc:docMk/>
            <pc:sldMk cId="909057292" sldId="2141411876"/>
            <ac:spMk id="15" creationId="{1AE94B59-9087-3A30-3ED4-D89E737D2B60}"/>
          </ac:spMkLst>
        </pc:spChg>
        <pc:spChg chg="mod">
          <ac:chgData name="Gasteiger, Cassidy M" userId="49e4247d-81de-4625-ae16-f189e0b7e529" providerId="ADAL" clId="{EFB976C6-EC52-4602-90C8-86B8954E5255}" dt="2023-03-31T03:38:32.180" v="41644" actId="207"/>
          <ac:spMkLst>
            <pc:docMk/>
            <pc:sldMk cId="909057292" sldId="2141411876"/>
            <ac:spMk id="17" creationId="{EE3D9B4D-EF3A-89E3-35C8-548C7C288FF7}"/>
          </ac:spMkLst>
        </pc:spChg>
      </pc:sldChg>
      <pc:sldChg chg="modSp add del mod ord">
        <pc:chgData name="Gasteiger, Cassidy M" userId="49e4247d-81de-4625-ae16-f189e0b7e529" providerId="ADAL" clId="{EFB976C6-EC52-4602-90C8-86B8954E5255}" dt="2023-03-31T03:37:52.853" v="41638" actId="2696"/>
        <pc:sldMkLst>
          <pc:docMk/>
          <pc:sldMk cId="2811324019" sldId="2141411876"/>
        </pc:sldMkLst>
        <pc:spChg chg="mod">
          <ac:chgData name="Gasteiger, Cassidy M" userId="49e4247d-81de-4625-ae16-f189e0b7e529" providerId="ADAL" clId="{EFB976C6-EC52-4602-90C8-86B8954E5255}" dt="2023-03-31T03:37:43.304" v="41636" actId="207"/>
          <ac:spMkLst>
            <pc:docMk/>
            <pc:sldMk cId="2811324019" sldId="2141411876"/>
            <ac:spMk id="15" creationId="{1AE94B59-9087-3A30-3ED4-D89E737D2B60}"/>
          </ac:spMkLst>
        </pc:spChg>
        <pc:spChg chg="mod">
          <ac:chgData name="Gasteiger, Cassidy M" userId="49e4247d-81de-4625-ae16-f189e0b7e529" providerId="ADAL" clId="{EFB976C6-EC52-4602-90C8-86B8954E5255}" dt="2023-03-31T03:37:47.014" v="41637" actId="207"/>
          <ac:spMkLst>
            <pc:docMk/>
            <pc:sldMk cId="2811324019" sldId="2141411876"/>
            <ac:spMk id="17" creationId="{EE3D9B4D-EF3A-89E3-35C8-548C7C288FF7}"/>
          </ac:spMkLst>
        </pc:spChg>
      </pc:sldChg>
      <pc:sldChg chg="modSp add mod ord">
        <pc:chgData name="Gasteiger, Cassidy M" userId="49e4247d-81de-4625-ae16-f189e0b7e529" providerId="ADAL" clId="{EFB976C6-EC52-4602-90C8-86B8954E5255}" dt="2023-03-31T03:39:23.657" v="41650" actId="207"/>
        <pc:sldMkLst>
          <pc:docMk/>
          <pc:sldMk cId="3720081585" sldId="2141411877"/>
        </pc:sldMkLst>
        <pc:spChg chg="mod">
          <ac:chgData name="Gasteiger, Cassidy M" userId="49e4247d-81de-4625-ae16-f189e0b7e529" providerId="ADAL" clId="{EFB976C6-EC52-4602-90C8-86B8954E5255}" dt="2023-03-31T03:39:19.709" v="41649" actId="207"/>
          <ac:spMkLst>
            <pc:docMk/>
            <pc:sldMk cId="3720081585" sldId="2141411877"/>
            <ac:spMk id="17" creationId="{EE3D9B4D-EF3A-89E3-35C8-548C7C288FF7}"/>
          </ac:spMkLst>
        </pc:spChg>
        <pc:spChg chg="mod">
          <ac:chgData name="Gasteiger, Cassidy M" userId="49e4247d-81de-4625-ae16-f189e0b7e529" providerId="ADAL" clId="{EFB976C6-EC52-4602-90C8-86B8954E5255}" dt="2023-03-31T03:39:23.657" v="41650" actId="207"/>
          <ac:spMkLst>
            <pc:docMk/>
            <pc:sldMk cId="3720081585" sldId="2141411877"/>
            <ac:spMk id="19" creationId="{8615E72A-AF87-57B2-D90A-AF13671EEF9E}"/>
          </ac:spMkLst>
        </pc:spChg>
      </pc:sldChg>
      <pc:sldChg chg="modSp add mod ord">
        <pc:chgData name="Gasteiger, Cassidy M" userId="49e4247d-81de-4625-ae16-f189e0b7e529" providerId="ADAL" clId="{EFB976C6-EC52-4602-90C8-86B8954E5255}" dt="2023-03-31T03:40:04.539" v="41658" actId="207"/>
        <pc:sldMkLst>
          <pc:docMk/>
          <pc:sldMk cId="2268257628" sldId="2141411878"/>
        </pc:sldMkLst>
        <pc:spChg chg="mod">
          <ac:chgData name="Gasteiger, Cassidy M" userId="49e4247d-81de-4625-ae16-f189e0b7e529" providerId="ADAL" clId="{EFB976C6-EC52-4602-90C8-86B8954E5255}" dt="2023-03-31T03:40:04.539" v="41658" actId="207"/>
          <ac:spMkLst>
            <pc:docMk/>
            <pc:sldMk cId="2268257628" sldId="2141411878"/>
            <ac:spMk id="2" creationId="{2B2AA85E-C3EB-2039-19ED-F5B6C60AAF13}"/>
          </ac:spMkLst>
        </pc:spChg>
        <pc:spChg chg="mod">
          <ac:chgData name="Gasteiger, Cassidy M" userId="49e4247d-81de-4625-ae16-f189e0b7e529" providerId="ADAL" clId="{EFB976C6-EC52-4602-90C8-86B8954E5255}" dt="2023-03-31T03:39:58.364" v="41657" actId="207"/>
          <ac:spMkLst>
            <pc:docMk/>
            <pc:sldMk cId="2268257628" sldId="2141411878"/>
            <ac:spMk id="19" creationId="{8615E72A-AF87-57B2-D90A-AF13671EEF9E}"/>
          </ac:spMkLst>
        </pc:spChg>
      </pc:sldChg>
      <pc:sldMasterChg chg="delSldLayout modSldLayout">
        <pc:chgData name="Gasteiger, Cassidy M" userId="49e4247d-81de-4625-ae16-f189e0b7e529" providerId="ADAL" clId="{EFB976C6-EC52-4602-90C8-86B8954E5255}" dt="2023-03-31T03:33:57.767" v="41570" actId="2696"/>
        <pc:sldMasterMkLst>
          <pc:docMk/>
          <pc:sldMasterMk cId="0" sldId="2147483675"/>
        </pc:sldMasterMkLst>
        <pc:sldLayoutChg chg="modSp mod">
          <pc:chgData name="Gasteiger, Cassidy M" userId="49e4247d-81de-4625-ae16-f189e0b7e529" providerId="ADAL" clId="{EFB976C6-EC52-4602-90C8-86B8954E5255}" dt="2023-03-20T20:54:58.198" v="287" actId="207"/>
          <pc:sldLayoutMkLst>
            <pc:docMk/>
            <pc:sldMasterMk cId="0" sldId="2147483675"/>
            <pc:sldLayoutMk cId="0" sldId="2147483648"/>
          </pc:sldLayoutMkLst>
          <pc:spChg chg="mod">
            <ac:chgData name="Gasteiger, Cassidy M" userId="49e4247d-81de-4625-ae16-f189e0b7e529" providerId="ADAL" clId="{EFB976C6-EC52-4602-90C8-86B8954E5255}" dt="2023-03-20T20:54:58.198" v="287" actId="207"/>
            <ac:spMkLst>
              <pc:docMk/>
              <pc:sldMasterMk cId="0" sldId="2147483675"/>
              <pc:sldLayoutMk cId="0" sldId="2147483648"/>
              <ac:spMk id="11" creationId="{00000000-0000-0000-0000-000000000000}"/>
            </ac:spMkLst>
          </pc:spChg>
        </pc:sldLayoutChg>
        <pc:sldLayoutChg chg="modSp mod">
          <pc:chgData name="Gasteiger, Cassidy M" userId="49e4247d-81de-4625-ae16-f189e0b7e529" providerId="ADAL" clId="{EFB976C6-EC52-4602-90C8-86B8954E5255}" dt="2023-03-20T20:55:13.318" v="293" actId="1035"/>
          <pc:sldLayoutMkLst>
            <pc:docMk/>
            <pc:sldMasterMk cId="0" sldId="2147483675"/>
            <pc:sldLayoutMk cId="0" sldId="2147483663"/>
          </pc:sldLayoutMkLst>
          <pc:spChg chg="mod">
            <ac:chgData name="Gasteiger, Cassidy M" userId="49e4247d-81de-4625-ae16-f189e0b7e529" providerId="ADAL" clId="{EFB976C6-EC52-4602-90C8-86B8954E5255}" dt="2023-03-20T20:55:09.895" v="290" actId="207"/>
            <ac:spMkLst>
              <pc:docMk/>
              <pc:sldMasterMk cId="0" sldId="2147483675"/>
              <pc:sldLayoutMk cId="0" sldId="2147483663"/>
              <ac:spMk id="100" creationId="{00000000-0000-0000-0000-000000000000}"/>
            </ac:spMkLst>
          </pc:spChg>
          <pc:spChg chg="mod">
            <ac:chgData name="Gasteiger, Cassidy M" userId="49e4247d-81de-4625-ae16-f189e0b7e529" providerId="ADAL" clId="{EFB976C6-EC52-4602-90C8-86B8954E5255}" dt="2023-03-20T20:55:13.318" v="293" actId="1035"/>
            <ac:spMkLst>
              <pc:docMk/>
              <pc:sldMasterMk cId="0" sldId="2147483675"/>
              <pc:sldLayoutMk cId="0" sldId="2147483663"/>
              <ac:spMk id="101" creationId="{00000000-0000-0000-0000-000000000000}"/>
            </ac:spMkLst>
          </pc:spChg>
        </pc:sldLayoutChg>
        <pc:sldLayoutChg chg="del">
          <pc:chgData name="Gasteiger, Cassidy M" userId="49e4247d-81de-4625-ae16-f189e0b7e529" providerId="ADAL" clId="{EFB976C6-EC52-4602-90C8-86B8954E5255}" dt="2023-03-31T03:33:57.767" v="41570" actId="2696"/>
          <pc:sldLayoutMkLst>
            <pc:docMk/>
            <pc:sldMasterMk cId="0" sldId="2147483675"/>
            <pc:sldLayoutMk cId="1821287593" sldId="2147483678"/>
          </pc:sldLayoutMkLst>
        </pc:sldLayoutChg>
      </pc:sldMasterChg>
    </pc:docChg>
  </pc:docChgLst>
  <pc:docChgLst>
    <pc:chgData name="Pinninti, Sai Sri Harsha" userId="S::spinninti6@gatech.edu::6ba08ae6-e7e9-4708-9553-1d23cd36dd19" providerId="AD" clId="Web-{91D26A5E-6286-4035-BDA4-F23CDE1D2F24}"/>
    <pc:docChg chg="modSld">
      <pc:chgData name="Pinninti, Sai Sri Harsha" userId="S::spinninti6@gatech.edu::6ba08ae6-e7e9-4708-9553-1d23cd36dd19" providerId="AD" clId="Web-{91D26A5E-6286-4035-BDA4-F23CDE1D2F24}" dt="2023-03-31T02:45:10.485" v="663" actId="20577"/>
      <pc:docMkLst>
        <pc:docMk/>
      </pc:docMkLst>
      <pc:sldChg chg="modSp">
        <pc:chgData name="Pinninti, Sai Sri Harsha" userId="S::spinninti6@gatech.edu::6ba08ae6-e7e9-4708-9553-1d23cd36dd19" providerId="AD" clId="Web-{91D26A5E-6286-4035-BDA4-F23CDE1D2F24}" dt="2023-03-31T02:30:28.196" v="659" actId="20577"/>
        <pc:sldMkLst>
          <pc:docMk/>
          <pc:sldMk cId="0" sldId="256"/>
        </pc:sldMkLst>
        <pc:spChg chg="mod">
          <ac:chgData name="Pinninti, Sai Sri Harsha" userId="S::spinninti6@gatech.edu::6ba08ae6-e7e9-4708-9553-1d23cd36dd19" providerId="AD" clId="Web-{91D26A5E-6286-4035-BDA4-F23CDE1D2F24}" dt="2023-03-31T02:30:28.196" v="659" actId="20577"/>
          <ac:spMkLst>
            <pc:docMk/>
            <pc:sldMk cId="0" sldId="256"/>
            <ac:spMk id="186" creationId="{00000000-0000-0000-0000-000000000000}"/>
          </ac:spMkLst>
        </pc:spChg>
      </pc:sldChg>
      <pc:sldChg chg="delSp modSp">
        <pc:chgData name="Pinninti, Sai Sri Harsha" userId="S::spinninti6@gatech.edu::6ba08ae6-e7e9-4708-9553-1d23cd36dd19" providerId="AD" clId="Web-{91D26A5E-6286-4035-BDA4-F23CDE1D2F24}" dt="2023-03-31T02:45:10.485" v="663" actId="20577"/>
        <pc:sldMkLst>
          <pc:docMk/>
          <pc:sldMk cId="1273494731" sldId="355"/>
        </pc:sldMkLst>
        <pc:spChg chg="mod">
          <ac:chgData name="Pinninti, Sai Sri Harsha" userId="S::spinninti6@gatech.edu::6ba08ae6-e7e9-4708-9553-1d23cd36dd19" providerId="AD" clId="Web-{91D26A5E-6286-4035-BDA4-F23CDE1D2F24}" dt="2023-03-31T02:45:10.485" v="663" actId="20577"/>
          <ac:spMkLst>
            <pc:docMk/>
            <pc:sldMk cId="1273494731" sldId="355"/>
            <ac:spMk id="7" creationId="{54B0EB23-5D84-255B-1028-9B5EAAE24DA4}"/>
          </ac:spMkLst>
        </pc:spChg>
        <pc:spChg chg="del">
          <ac:chgData name="Pinninti, Sai Sri Harsha" userId="S::spinninti6@gatech.edu::6ba08ae6-e7e9-4708-9553-1d23cd36dd19" providerId="AD" clId="Web-{91D26A5E-6286-4035-BDA4-F23CDE1D2F24}" dt="2023-03-31T02:42:09.449" v="660"/>
          <ac:spMkLst>
            <pc:docMk/>
            <pc:sldMk cId="1273494731" sldId="355"/>
            <ac:spMk id="15" creationId="{683B9263-0112-4976-359B-A68F6D49DEA8}"/>
          </ac:spMkLst>
        </pc:spChg>
      </pc:sldChg>
      <pc:sldChg chg="addSp delSp modSp">
        <pc:chgData name="Pinninti, Sai Sri Harsha" userId="S::spinninti6@gatech.edu::6ba08ae6-e7e9-4708-9553-1d23cd36dd19" providerId="AD" clId="Web-{91D26A5E-6286-4035-BDA4-F23CDE1D2F24}" dt="2023-03-31T02:19:35.492" v="657" actId="20577"/>
        <pc:sldMkLst>
          <pc:docMk/>
          <pc:sldMk cId="2677383997" sldId="2141411865"/>
        </pc:sldMkLst>
        <pc:spChg chg="add mod">
          <ac:chgData name="Pinninti, Sai Sri Harsha" userId="S::spinninti6@gatech.edu::6ba08ae6-e7e9-4708-9553-1d23cd36dd19" providerId="AD" clId="Web-{91D26A5E-6286-4035-BDA4-F23CDE1D2F24}" dt="2023-03-31T02:19:35.492" v="657" actId="20577"/>
          <ac:spMkLst>
            <pc:docMk/>
            <pc:sldMk cId="2677383997" sldId="2141411865"/>
            <ac:spMk id="4" creationId="{57197048-F1B9-38AB-DC8B-5E769897413B}"/>
          </ac:spMkLst>
        </pc:spChg>
        <pc:spChg chg="add del mod">
          <ac:chgData name="Pinninti, Sai Sri Harsha" userId="S::spinninti6@gatech.edu::6ba08ae6-e7e9-4708-9553-1d23cd36dd19" providerId="AD" clId="Web-{91D26A5E-6286-4035-BDA4-F23CDE1D2F24}" dt="2023-03-31T01:46:48.409" v="125"/>
          <ac:spMkLst>
            <pc:docMk/>
            <pc:sldMk cId="2677383997" sldId="2141411865"/>
            <ac:spMk id="5" creationId="{915A36C5-9180-214E-80BB-D4B0327F251F}"/>
          </ac:spMkLst>
        </pc:spChg>
      </pc:sldChg>
      <pc:sldChg chg="addSp delSp modSp">
        <pc:chgData name="Pinninti, Sai Sri Harsha" userId="S::spinninti6@gatech.edu::6ba08ae6-e7e9-4708-9553-1d23cd36dd19" providerId="AD" clId="Web-{91D26A5E-6286-4035-BDA4-F23CDE1D2F24}" dt="2023-03-31T02:17:31.770" v="639" actId="20577"/>
        <pc:sldMkLst>
          <pc:docMk/>
          <pc:sldMk cId="2274002553" sldId="2141411866"/>
        </pc:sldMkLst>
        <pc:spChg chg="del mod">
          <ac:chgData name="Pinninti, Sai Sri Harsha" userId="S::spinninti6@gatech.edu::6ba08ae6-e7e9-4708-9553-1d23cd36dd19" providerId="AD" clId="Web-{91D26A5E-6286-4035-BDA4-F23CDE1D2F24}" dt="2023-03-31T01:45:05.141" v="37"/>
          <ac:spMkLst>
            <pc:docMk/>
            <pc:sldMk cId="2274002553" sldId="2141411866"/>
            <ac:spMk id="4" creationId="{85B83130-ED0A-AA29-6E5B-F417A70397AC}"/>
          </ac:spMkLst>
        </pc:spChg>
        <pc:spChg chg="add mod">
          <ac:chgData name="Pinninti, Sai Sri Harsha" userId="S::spinninti6@gatech.edu::6ba08ae6-e7e9-4708-9553-1d23cd36dd19" providerId="AD" clId="Web-{91D26A5E-6286-4035-BDA4-F23CDE1D2F24}" dt="2023-03-31T02:17:31.770" v="639" actId="20577"/>
          <ac:spMkLst>
            <pc:docMk/>
            <pc:sldMk cId="2274002553" sldId="2141411866"/>
            <ac:spMk id="14" creationId="{D899B259-B9C4-EC4C-68D0-0CE1B7AA7781}"/>
          </ac:spMkLst>
        </pc:spChg>
        <pc:graphicFrameChg chg="del mod modGraphic">
          <ac:chgData name="Pinninti, Sai Sri Harsha" userId="S::spinninti6@gatech.edu::6ba08ae6-e7e9-4708-9553-1d23cd36dd19" providerId="AD" clId="Web-{91D26A5E-6286-4035-BDA4-F23CDE1D2F24}" dt="2023-03-31T02:01:00.697" v="495"/>
          <ac:graphicFrameMkLst>
            <pc:docMk/>
            <pc:sldMk cId="2274002553" sldId="2141411866"/>
            <ac:graphicFrameMk id="2" creationId="{FAFE7987-A72A-0A64-1AE1-4D74401D8A42}"/>
          </ac:graphicFrameMkLst>
        </pc:graphicFrameChg>
        <pc:graphicFrameChg chg="add mod modGraphic">
          <ac:chgData name="Pinninti, Sai Sri Harsha" userId="S::spinninti6@gatech.edu::6ba08ae6-e7e9-4708-9553-1d23cd36dd19" providerId="AD" clId="Web-{91D26A5E-6286-4035-BDA4-F23CDE1D2F24}" dt="2023-03-31T02:08:24.677" v="526"/>
          <ac:graphicFrameMkLst>
            <pc:docMk/>
            <pc:sldMk cId="2274002553" sldId="2141411866"/>
            <ac:graphicFrameMk id="10" creationId="{E2357BCA-829C-0B08-3E06-250E29AC8D5F}"/>
          </ac:graphicFrameMkLst>
        </pc:graphicFrameChg>
        <pc:picChg chg="add del mod ord">
          <ac:chgData name="Pinninti, Sai Sri Harsha" userId="S::spinninti6@gatech.edu::6ba08ae6-e7e9-4708-9553-1d23cd36dd19" providerId="AD" clId="Web-{91D26A5E-6286-4035-BDA4-F23CDE1D2F24}" dt="2023-03-31T02:00:16.149" v="475"/>
          <ac:picMkLst>
            <pc:docMk/>
            <pc:sldMk cId="2274002553" sldId="2141411866"/>
            <ac:picMk id="5" creationId="{8E991B18-3315-A3FB-C3DB-05D007B37686}"/>
          </ac:picMkLst>
        </pc:picChg>
        <pc:picChg chg="add del mod ord">
          <ac:chgData name="Pinninti, Sai Sri Harsha" userId="S::spinninti6@gatech.edu::6ba08ae6-e7e9-4708-9553-1d23cd36dd19" providerId="AD" clId="Web-{91D26A5E-6286-4035-BDA4-F23CDE1D2F24}" dt="2023-03-31T02:10:01.351" v="531"/>
          <ac:picMkLst>
            <pc:docMk/>
            <pc:sldMk cId="2274002553" sldId="2141411866"/>
            <ac:picMk id="6" creationId="{2D5A6022-6B7D-9FC6-D3BE-915977875FA9}"/>
          </ac:picMkLst>
        </pc:picChg>
        <pc:picChg chg="add del mod">
          <ac:chgData name="Pinninti, Sai Sri Harsha" userId="S::spinninti6@gatech.edu::6ba08ae6-e7e9-4708-9553-1d23cd36dd19" providerId="AD" clId="Web-{91D26A5E-6286-4035-BDA4-F23CDE1D2F24}" dt="2023-03-31T01:59:56.508" v="470"/>
          <ac:picMkLst>
            <pc:docMk/>
            <pc:sldMk cId="2274002553" sldId="2141411866"/>
            <ac:picMk id="7" creationId="{3CD7C1F6-61D9-B07C-E4C2-860F3EFEF491}"/>
          </ac:picMkLst>
        </pc:picChg>
        <pc:picChg chg="add del mod">
          <ac:chgData name="Pinninti, Sai Sri Harsha" userId="S::spinninti6@gatech.edu::6ba08ae6-e7e9-4708-9553-1d23cd36dd19" providerId="AD" clId="Web-{91D26A5E-6286-4035-BDA4-F23CDE1D2F24}" dt="2023-03-31T02:11:11.510" v="537"/>
          <ac:picMkLst>
            <pc:docMk/>
            <pc:sldMk cId="2274002553" sldId="2141411866"/>
            <ac:picMk id="8" creationId="{C2BD1BA9-E39D-00D6-06F0-DC9D886E0E00}"/>
          </ac:picMkLst>
        </pc:picChg>
        <pc:picChg chg="add mod ord">
          <ac:chgData name="Pinninti, Sai Sri Harsha" userId="S::spinninti6@gatech.edu::6ba08ae6-e7e9-4708-9553-1d23cd36dd19" providerId="AD" clId="Web-{91D26A5E-6286-4035-BDA4-F23CDE1D2F24}" dt="2023-03-31T02:10:09.367" v="532" actId="1076"/>
          <ac:picMkLst>
            <pc:docMk/>
            <pc:sldMk cId="2274002553" sldId="2141411866"/>
            <ac:picMk id="15" creationId="{521AC29E-A842-992C-D690-6B75A71F23E6}"/>
          </ac:picMkLst>
        </pc:picChg>
        <pc:picChg chg="add mod ord">
          <ac:chgData name="Pinninti, Sai Sri Harsha" userId="S::spinninti6@gatech.edu::6ba08ae6-e7e9-4708-9553-1d23cd36dd19" providerId="AD" clId="Web-{91D26A5E-6286-4035-BDA4-F23CDE1D2F24}" dt="2023-03-31T02:11:18.666" v="538" actId="1076"/>
          <ac:picMkLst>
            <pc:docMk/>
            <pc:sldMk cId="2274002553" sldId="2141411866"/>
            <ac:picMk id="16" creationId="{E01BB813-784C-C2D3-1B04-71E016015A3C}"/>
          </ac:picMkLst>
        </pc:picChg>
        <pc:picChg chg="del">
          <ac:chgData name="Pinninti, Sai Sri Harsha" userId="S::spinninti6@gatech.edu::6ba08ae6-e7e9-4708-9553-1d23cd36dd19" providerId="AD" clId="Web-{91D26A5E-6286-4035-BDA4-F23CDE1D2F24}" dt="2023-03-31T01:44:22.030" v="14"/>
          <ac:picMkLst>
            <pc:docMk/>
            <pc:sldMk cId="2274002553" sldId="2141411866"/>
            <ac:picMk id="2050" creationId="{A9283F6B-7692-38F0-E6B4-BC392E8EC5EA}"/>
          </ac:picMkLst>
        </pc:picChg>
        <pc:picChg chg="del">
          <ac:chgData name="Pinninti, Sai Sri Harsha" userId="S::spinninti6@gatech.edu::6ba08ae6-e7e9-4708-9553-1d23cd36dd19" providerId="AD" clId="Web-{91D26A5E-6286-4035-BDA4-F23CDE1D2F24}" dt="2023-03-31T01:43:42.686" v="8"/>
          <ac:picMkLst>
            <pc:docMk/>
            <pc:sldMk cId="2274002553" sldId="2141411866"/>
            <ac:picMk id="2052" creationId="{6E59099A-2A73-F6FC-25F1-45256FF81461}"/>
          </ac:picMkLst>
        </pc:picChg>
      </pc:sldChg>
    </pc:docChg>
  </pc:docChgLst>
  <pc:docChgLst>
    <pc:chgData name="Arwini, Rakesh K" userId="S::rarwini3@gatech.edu::abfc93cb-0427-4ea8-992c-5410604ef97b" providerId="AD" clId="Web-{38976A00-828C-47F4-8859-DDBD78E03459}"/>
    <pc:docChg chg="modSld">
      <pc:chgData name="Arwini, Rakesh K" userId="S::rarwini3@gatech.edu::abfc93cb-0427-4ea8-992c-5410604ef97b" providerId="AD" clId="Web-{38976A00-828C-47F4-8859-DDBD78E03459}" dt="2023-03-31T02:34:14.961" v="61" actId="1076"/>
      <pc:docMkLst>
        <pc:docMk/>
      </pc:docMkLst>
      <pc:sldChg chg="delSp modSp">
        <pc:chgData name="Arwini, Rakesh K" userId="S::rarwini3@gatech.edu::abfc93cb-0427-4ea8-992c-5410604ef97b" providerId="AD" clId="Web-{38976A00-828C-47F4-8859-DDBD78E03459}" dt="2023-03-31T02:34:14.961" v="61" actId="1076"/>
        <pc:sldMkLst>
          <pc:docMk/>
          <pc:sldMk cId="3875709419" sldId="2141411870"/>
        </pc:sldMkLst>
        <pc:spChg chg="del mod">
          <ac:chgData name="Arwini, Rakesh K" userId="S::rarwini3@gatech.edu::abfc93cb-0427-4ea8-992c-5410604ef97b" providerId="AD" clId="Web-{38976A00-828C-47F4-8859-DDBD78E03459}" dt="2023-03-31T02:33:42.257" v="58"/>
          <ac:spMkLst>
            <pc:docMk/>
            <pc:sldMk cId="3875709419" sldId="2141411870"/>
            <ac:spMk id="9" creationId="{EBC0E95E-0A34-7E94-5E51-E93F89EE6CD4}"/>
          </ac:spMkLst>
        </pc:spChg>
        <pc:spChg chg="mod">
          <ac:chgData name="Arwini, Rakesh K" userId="S::rarwini3@gatech.edu::abfc93cb-0427-4ea8-992c-5410604ef97b" providerId="AD" clId="Web-{38976A00-828C-47F4-8859-DDBD78E03459}" dt="2023-03-31T02:29:24.640" v="45" actId="20577"/>
          <ac:spMkLst>
            <pc:docMk/>
            <pc:sldMk cId="3875709419" sldId="2141411870"/>
            <ac:spMk id="14" creationId="{D9B6154A-714C-8DC7-A322-E426FB217329}"/>
          </ac:spMkLst>
        </pc:spChg>
        <pc:spChg chg="mod">
          <ac:chgData name="Arwini, Rakesh K" userId="S::rarwini3@gatech.edu::abfc93cb-0427-4ea8-992c-5410604ef97b" providerId="AD" clId="Web-{38976A00-828C-47F4-8859-DDBD78E03459}" dt="2023-03-31T02:25:50.586" v="10" actId="20577"/>
          <ac:spMkLst>
            <pc:docMk/>
            <pc:sldMk cId="3875709419" sldId="2141411870"/>
            <ac:spMk id="18" creationId="{F8C12B2F-41CC-CC95-0994-93E7696E6D48}"/>
          </ac:spMkLst>
        </pc:spChg>
        <pc:spChg chg="mod">
          <ac:chgData name="Arwini, Rakesh K" userId="S::rarwini3@gatech.edu::abfc93cb-0427-4ea8-992c-5410604ef97b" providerId="AD" clId="Web-{38976A00-828C-47F4-8859-DDBD78E03459}" dt="2023-03-31T02:27:03.026" v="13" actId="20577"/>
          <ac:spMkLst>
            <pc:docMk/>
            <pc:sldMk cId="3875709419" sldId="2141411870"/>
            <ac:spMk id="21" creationId="{9298A675-56F8-D9CE-3157-040BAF411329}"/>
          </ac:spMkLst>
        </pc:spChg>
        <pc:spChg chg="mod">
          <ac:chgData name="Arwini, Rakesh K" userId="S::rarwini3@gatech.edu::abfc93cb-0427-4ea8-992c-5410604ef97b" providerId="AD" clId="Web-{38976A00-828C-47F4-8859-DDBD78E03459}" dt="2023-03-31T02:28:57.936" v="25" actId="20577"/>
          <ac:spMkLst>
            <pc:docMk/>
            <pc:sldMk cId="3875709419" sldId="2141411870"/>
            <ac:spMk id="24" creationId="{473AE47D-ECF5-3F71-7B91-DE562C36474F}"/>
          </ac:spMkLst>
        </pc:spChg>
        <pc:spChg chg="mod">
          <ac:chgData name="Arwini, Rakesh K" userId="S::rarwini3@gatech.edu::abfc93cb-0427-4ea8-992c-5410604ef97b" providerId="AD" clId="Web-{38976A00-828C-47F4-8859-DDBD78E03459}" dt="2023-03-31T02:27:35.933" v="15" actId="20577"/>
          <ac:spMkLst>
            <pc:docMk/>
            <pc:sldMk cId="3875709419" sldId="2141411870"/>
            <ac:spMk id="32" creationId="{FADF7977-9A1C-CBF1-51A5-40848921523C}"/>
          </ac:spMkLst>
        </pc:spChg>
        <pc:spChg chg="mod">
          <ac:chgData name="Arwini, Rakesh K" userId="S::rarwini3@gatech.edu::abfc93cb-0427-4ea8-992c-5410604ef97b" providerId="AD" clId="Web-{38976A00-828C-47F4-8859-DDBD78E03459}" dt="2023-03-31T02:27:49.965" v="19" actId="20577"/>
          <ac:spMkLst>
            <pc:docMk/>
            <pc:sldMk cId="3875709419" sldId="2141411870"/>
            <ac:spMk id="36" creationId="{17238F11-FDFB-7DF4-FCA5-3482B0C86880}"/>
          </ac:spMkLst>
        </pc:spChg>
        <pc:spChg chg="mod">
          <ac:chgData name="Arwini, Rakesh K" userId="S::rarwini3@gatech.edu::abfc93cb-0427-4ea8-992c-5410604ef97b" providerId="AD" clId="Web-{38976A00-828C-47F4-8859-DDBD78E03459}" dt="2023-03-31T02:31:18.003" v="52" actId="20577"/>
          <ac:spMkLst>
            <pc:docMk/>
            <pc:sldMk cId="3875709419" sldId="2141411870"/>
            <ac:spMk id="49" creationId="{F1711BE7-82E5-1286-FBF9-95D33B28912F}"/>
          </ac:spMkLst>
        </pc:spChg>
        <pc:spChg chg="del mod">
          <ac:chgData name="Arwini, Rakesh K" userId="S::rarwini3@gatech.edu::abfc93cb-0427-4ea8-992c-5410604ef97b" providerId="AD" clId="Web-{38976A00-828C-47F4-8859-DDBD78E03459}" dt="2023-03-31T02:33:44.491" v="59"/>
          <ac:spMkLst>
            <pc:docMk/>
            <pc:sldMk cId="3875709419" sldId="2141411870"/>
            <ac:spMk id="52" creationId="{1A1A3476-630A-F24C-072F-379460380E5D}"/>
          </ac:spMkLst>
        </pc:spChg>
        <pc:spChg chg="mod">
          <ac:chgData name="Arwini, Rakesh K" userId="S::rarwini3@gatech.edu::abfc93cb-0427-4ea8-992c-5410604ef97b" providerId="AD" clId="Web-{38976A00-828C-47F4-8859-DDBD78E03459}" dt="2023-03-31T02:31:19.612" v="54" actId="20577"/>
          <ac:spMkLst>
            <pc:docMk/>
            <pc:sldMk cId="3875709419" sldId="2141411870"/>
            <ac:spMk id="54" creationId="{99C51F38-FD6A-47B0-7BA1-BAFF4BF02E56}"/>
          </ac:spMkLst>
        </pc:spChg>
        <pc:graphicFrameChg chg="mod">
          <ac:chgData name="Arwini, Rakesh K" userId="S::rarwini3@gatech.edu::abfc93cb-0427-4ea8-992c-5410604ef97b" providerId="AD" clId="Web-{38976A00-828C-47F4-8859-DDBD78E03459}" dt="2023-03-31T02:34:14.961" v="61" actId="1076"/>
          <ac:graphicFrameMkLst>
            <pc:docMk/>
            <pc:sldMk cId="3875709419" sldId="2141411870"/>
            <ac:graphicFrameMk id="255" creationId="{43012138-E161-4815-A10A-57497B36CA6F}"/>
          </ac:graphicFrameMkLst>
        </pc:graphicFrameChg>
      </pc:sldChg>
    </pc:docChg>
  </pc:docChgLst>
  <pc:docChgLst>
    <pc:chgData name="Pinninti, Sai Sri Harsha" userId="S::spinninti6@gatech.edu::6ba08ae6-e7e9-4708-9553-1d23cd36dd19" providerId="AD" clId="Web-{BD8D4D30-ABA3-4B9F-B85A-AE53210B62CC}"/>
    <pc:docChg chg="addSld delSld modSld sldOrd addMainMaster delMainMaster modMainMaster modSection">
      <pc:chgData name="Pinninti, Sai Sri Harsha" userId="S::spinninti6@gatech.edu::6ba08ae6-e7e9-4708-9553-1d23cd36dd19" providerId="AD" clId="Web-{BD8D4D30-ABA3-4B9F-B85A-AE53210B62CC}" dt="2023-04-17T06:14:18.666" v="46" actId="20577"/>
      <pc:docMkLst>
        <pc:docMk/>
      </pc:docMkLst>
      <pc:sldChg chg="addSp delSp modSp">
        <pc:chgData name="Pinninti, Sai Sri Harsha" userId="S::spinninti6@gatech.edu::6ba08ae6-e7e9-4708-9553-1d23cd36dd19" providerId="AD" clId="Web-{BD8D4D30-ABA3-4B9F-B85A-AE53210B62CC}" dt="2023-04-17T05:33:38.708" v="44"/>
        <pc:sldMkLst>
          <pc:docMk/>
          <pc:sldMk cId="2330847497" sldId="2141411880"/>
        </pc:sldMkLst>
        <pc:spChg chg="mod">
          <ac:chgData name="Pinninti, Sai Sri Harsha" userId="S::spinninti6@gatech.edu::6ba08ae6-e7e9-4708-9553-1d23cd36dd19" providerId="AD" clId="Web-{BD8D4D30-ABA3-4B9F-B85A-AE53210B62CC}" dt="2023-04-17T05:07:37.207" v="3" actId="1076"/>
          <ac:spMkLst>
            <pc:docMk/>
            <pc:sldMk cId="2330847497" sldId="2141411880"/>
            <ac:spMk id="14" creationId="{D899B259-B9C4-EC4C-68D0-0CE1B7AA7781}"/>
          </ac:spMkLst>
        </pc:spChg>
        <pc:graphicFrameChg chg="mod modGraphic">
          <ac:chgData name="Pinninti, Sai Sri Harsha" userId="S::spinninti6@gatech.edu::6ba08ae6-e7e9-4708-9553-1d23cd36dd19" providerId="AD" clId="Web-{BD8D4D30-ABA3-4B9F-B85A-AE53210B62CC}" dt="2023-04-17T05:32:55.020" v="38"/>
          <ac:graphicFrameMkLst>
            <pc:docMk/>
            <pc:sldMk cId="2330847497" sldId="2141411880"/>
            <ac:graphicFrameMk id="18" creationId="{F0024525-ED60-4CDB-2C1B-1408E05B3955}"/>
          </ac:graphicFrameMkLst>
        </pc:graphicFrameChg>
        <pc:picChg chg="add mod">
          <ac:chgData name="Pinninti, Sai Sri Harsha" userId="S::spinninti6@gatech.edu::6ba08ae6-e7e9-4708-9553-1d23cd36dd19" providerId="AD" clId="Web-{BD8D4D30-ABA3-4B9F-B85A-AE53210B62CC}" dt="2023-04-17T05:33:16.005" v="42" actId="1076"/>
          <ac:picMkLst>
            <pc:docMk/>
            <pc:sldMk cId="2330847497" sldId="2141411880"/>
            <ac:picMk id="2" creationId="{8ADB22D9-3913-A8B3-04FD-3CF809AD1C6E}"/>
          </ac:picMkLst>
        </pc:picChg>
        <pc:picChg chg="add del mod">
          <ac:chgData name="Pinninti, Sai Sri Harsha" userId="S::spinninti6@gatech.edu::6ba08ae6-e7e9-4708-9553-1d23cd36dd19" providerId="AD" clId="Web-{BD8D4D30-ABA3-4B9F-B85A-AE53210B62CC}" dt="2023-04-17T05:33:38.708" v="44"/>
          <ac:picMkLst>
            <pc:docMk/>
            <pc:sldMk cId="2330847497" sldId="2141411880"/>
            <ac:picMk id="4" creationId="{BB4D1790-7841-77BF-C05C-0E68A7118A77}"/>
          </ac:picMkLst>
        </pc:picChg>
      </pc:sldChg>
      <pc:sldChg chg="add ord">
        <pc:chgData name="Pinninti, Sai Sri Harsha" userId="S::spinninti6@gatech.edu::6ba08ae6-e7e9-4708-9553-1d23cd36dd19" providerId="AD" clId="Web-{BD8D4D30-ABA3-4B9F-B85A-AE53210B62CC}" dt="2023-04-17T05:07:24.441" v="2"/>
        <pc:sldMkLst>
          <pc:docMk/>
          <pc:sldMk cId="2827436235" sldId="2141411884"/>
        </pc:sldMkLst>
      </pc:sldChg>
      <pc:sldChg chg="modSp add">
        <pc:chgData name="Pinninti, Sai Sri Harsha" userId="S::spinninti6@gatech.edu::6ba08ae6-e7e9-4708-9553-1d23cd36dd19" providerId="AD" clId="Web-{BD8D4D30-ABA3-4B9F-B85A-AE53210B62CC}" dt="2023-04-17T06:14:18.666" v="46" actId="20577"/>
        <pc:sldMkLst>
          <pc:docMk/>
          <pc:sldMk cId="1846322232" sldId="2141411885"/>
        </pc:sldMkLst>
        <pc:spChg chg="mod">
          <ac:chgData name="Pinninti, Sai Sri Harsha" userId="S::spinninti6@gatech.edu::6ba08ae6-e7e9-4708-9553-1d23cd36dd19" providerId="AD" clId="Web-{BD8D4D30-ABA3-4B9F-B85A-AE53210B62CC}" dt="2023-04-17T06:14:18.666" v="46" actId="20577"/>
          <ac:spMkLst>
            <pc:docMk/>
            <pc:sldMk cId="1846322232" sldId="2141411885"/>
            <ac:spMk id="19" creationId="{365BA578-741C-1B22-8C13-B6E70BBC79A0}"/>
          </ac:spMkLst>
        </pc:spChg>
      </pc:sldChg>
      <pc:sldChg chg="add del">
        <pc:chgData name="Pinninti, Sai Sri Harsha" userId="S::spinninti6@gatech.edu::6ba08ae6-e7e9-4708-9553-1d23cd36dd19" providerId="AD" clId="Web-{BD8D4D30-ABA3-4B9F-B85A-AE53210B62CC}" dt="2023-04-17T05:08:23.551" v="5"/>
        <pc:sldMkLst>
          <pc:docMk/>
          <pc:sldMk cId="3308005462" sldId="2141411885"/>
        </pc:sldMkLst>
      </pc:sldChg>
      <pc:sldMasterChg chg="add del addSldLayout delSldLayout">
        <pc:chgData name="Pinninti, Sai Sri Harsha" userId="S::spinninti6@gatech.edu::6ba08ae6-e7e9-4708-9553-1d23cd36dd19" providerId="AD" clId="Web-{BD8D4D30-ABA3-4B9F-B85A-AE53210B62CC}" dt="2023-04-17T05:08:23.551" v="5"/>
        <pc:sldMasterMkLst>
          <pc:docMk/>
          <pc:sldMasterMk cId="2617258145" sldId="2147483660"/>
        </pc:sldMasterMkLst>
        <pc:sldLayoutChg chg="add del">
          <pc:chgData name="Pinninti, Sai Sri Harsha" userId="S::spinninti6@gatech.edu::6ba08ae6-e7e9-4708-9553-1d23cd36dd19" providerId="AD" clId="Web-{BD8D4D30-ABA3-4B9F-B85A-AE53210B62CC}" dt="2023-04-17T05:08:23.551" v="5"/>
          <pc:sldLayoutMkLst>
            <pc:docMk/>
            <pc:sldMasterMk cId="2617258145" sldId="2147483660"/>
            <pc:sldLayoutMk cId="3275025033" sldId="2147483661"/>
          </pc:sldLayoutMkLst>
        </pc:sldLayoutChg>
        <pc:sldLayoutChg chg="add del">
          <pc:chgData name="Pinninti, Sai Sri Harsha" userId="S::spinninti6@gatech.edu::6ba08ae6-e7e9-4708-9553-1d23cd36dd19" providerId="AD" clId="Web-{BD8D4D30-ABA3-4B9F-B85A-AE53210B62CC}" dt="2023-04-17T05:08:23.551" v="5"/>
          <pc:sldLayoutMkLst>
            <pc:docMk/>
            <pc:sldMasterMk cId="2617258145" sldId="2147483660"/>
            <pc:sldLayoutMk cId="3894967987" sldId="2147483662"/>
          </pc:sldLayoutMkLst>
        </pc:sldLayoutChg>
        <pc:sldLayoutChg chg="add del">
          <pc:chgData name="Pinninti, Sai Sri Harsha" userId="S::spinninti6@gatech.edu::6ba08ae6-e7e9-4708-9553-1d23cd36dd19" providerId="AD" clId="Web-{BD8D4D30-ABA3-4B9F-B85A-AE53210B62CC}" dt="2023-04-17T05:08:23.551" v="5"/>
          <pc:sldLayoutMkLst>
            <pc:docMk/>
            <pc:sldMasterMk cId="2617258145" sldId="2147483660"/>
            <pc:sldLayoutMk cId="1192023170" sldId="2147483663"/>
          </pc:sldLayoutMkLst>
        </pc:sldLayoutChg>
        <pc:sldLayoutChg chg="add del">
          <pc:chgData name="Pinninti, Sai Sri Harsha" userId="S::spinninti6@gatech.edu::6ba08ae6-e7e9-4708-9553-1d23cd36dd19" providerId="AD" clId="Web-{BD8D4D30-ABA3-4B9F-B85A-AE53210B62CC}" dt="2023-04-17T05:08:23.551" v="5"/>
          <pc:sldLayoutMkLst>
            <pc:docMk/>
            <pc:sldMasterMk cId="2617258145" sldId="2147483660"/>
            <pc:sldLayoutMk cId="62883668" sldId="2147483664"/>
          </pc:sldLayoutMkLst>
        </pc:sldLayoutChg>
        <pc:sldLayoutChg chg="add del">
          <pc:chgData name="Pinninti, Sai Sri Harsha" userId="S::spinninti6@gatech.edu::6ba08ae6-e7e9-4708-9553-1d23cd36dd19" providerId="AD" clId="Web-{BD8D4D30-ABA3-4B9F-B85A-AE53210B62CC}" dt="2023-04-17T05:08:23.551" v="5"/>
          <pc:sldLayoutMkLst>
            <pc:docMk/>
            <pc:sldMasterMk cId="2617258145" sldId="2147483660"/>
            <pc:sldLayoutMk cId="3386162139" sldId="2147483665"/>
          </pc:sldLayoutMkLst>
        </pc:sldLayoutChg>
        <pc:sldLayoutChg chg="add del">
          <pc:chgData name="Pinninti, Sai Sri Harsha" userId="S::spinninti6@gatech.edu::6ba08ae6-e7e9-4708-9553-1d23cd36dd19" providerId="AD" clId="Web-{BD8D4D30-ABA3-4B9F-B85A-AE53210B62CC}" dt="2023-04-17T05:08:23.551" v="5"/>
          <pc:sldLayoutMkLst>
            <pc:docMk/>
            <pc:sldMasterMk cId="2617258145" sldId="2147483660"/>
            <pc:sldLayoutMk cId="3683622930" sldId="2147483666"/>
          </pc:sldLayoutMkLst>
        </pc:sldLayoutChg>
        <pc:sldLayoutChg chg="add del">
          <pc:chgData name="Pinninti, Sai Sri Harsha" userId="S::spinninti6@gatech.edu::6ba08ae6-e7e9-4708-9553-1d23cd36dd19" providerId="AD" clId="Web-{BD8D4D30-ABA3-4B9F-B85A-AE53210B62CC}" dt="2023-04-17T05:08:23.551" v="5"/>
          <pc:sldLayoutMkLst>
            <pc:docMk/>
            <pc:sldMasterMk cId="2617258145" sldId="2147483660"/>
            <pc:sldLayoutMk cId="3134317233" sldId="2147483667"/>
          </pc:sldLayoutMkLst>
        </pc:sldLayoutChg>
        <pc:sldLayoutChg chg="add del">
          <pc:chgData name="Pinninti, Sai Sri Harsha" userId="S::spinninti6@gatech.edu::6ba08ae6-e7e9-4708-9553-1d23cd36dd19" providerId="AD" clId="Web-{BD8D4D30-ABA3-4B9F-B85A-AE53210B62CC}" dt="2023-04-17T05:08:23.551" v="5"/>
          <pc:sldLayoutMkLst>
            <pc:docMk/>
            <pc:sldMasterMk cId="2617258145" sldId="2147483660"/>
            <pc:sldLayoutMk cId="4180755828" sldId="2147483668"/>
          </pc:sldLayoutMkLst>
        </pc:sldLayoutChg>
        <pc:sldLayoutChg chg="add del">
          <pc:chgData name="Pinninti, Sai Sri Harsha" userId="S::spinninti6@gatech.edu::6ba08ae6-e7e9-4708-9553-1d23cd36dd19" providerId="AD" clId="Web-{BD8D4D30-ABA3-4B9F-B85A-AE53210B62CC}" dt="2023-04-17T05:08:23.551" v="5"/>
          <pc:sldLayoutMkLst>
            <pc:docMk/>
            <pc:sldMasterMk cId="2617258145" sldId="2147483660"/>
            <pc:sldLayoutMk cId="2787518164" sldId="2147483669"/>
          </pc:sldLayoutMkLst>
        </pc:sldLayoutChg>
        <pc:sldLayoutChg chg="add del">
          <pc:chgData name="Pinninti, Sai Sri Harsha" userId="S::spinninti6@gatech.edu::6ba08ae6-e7e9-4708-9553-1d23cd36dd19" providerId="AD" clId="Web-{BD8D4D30-ABA3-4B9F-B85A-AE53210B62CC}" dt="2023-04-17T05:08:23.551" v="5"/>
          <pc:sldLayoutMkLst>
            <pc:docMk/>
            <pc:sldMasterMk cId="2617258145" sldId="2147483660"/>
            <pc:sldLayoutMk cId="1375620923" sldId="2147483670"/>
          </pc:sldLayoutMkLst>
        </pc:sldLayoutChg>
        <pc:sldLayoutChg chg="add del">
          <pc:chgData name="Pinninti, Sai Sri Harsha" userId="S::spinninti6@gatech.edu::6ba08ae6-e7e9-4708-9553-1d23cd36dd19" providerId="AD" clId="Web-{BD8D4D30-ABA3-4B9F-B85A-AE53210B62CC}" dt="2023-04-17T05:08:23.551" v="5"/>
          <pc:sldLayoutMkLst>
            <pc:docMk/>
            <pc:sldMasterMk cId="2617258145" sldId="2147483660"/>
            <pc:sldLayoutMk cId="1865251377" sldId="2147483671"/>
          </pc:sldLayoutMkLst>
        </pc:sldLayoutChg>
        <pc:sldLayoutChg chg="add del">
          <pc:chgData name="Pinninti, Sai Sri Harsha" userId="S::spinninti6@gatech.edu::6ba08ae6-e7e9-4708-9553-1d23cd36dd19" providerId="AD" clId="Web-{BD8D4D30-ABA3-4B9F-B85A-AE53210B62CC}" dt="2023-04-17T05:08:23.551" v="5"/>
          <pc:sldLayoutMkLst>
            <pc:docMk/>
            <pc:sldMasterMk cId="2617258145" sldId="2147483660"/>
            <pc:sldLayoutMk cId="1562771246" sldId="2147483672"/>
          </pc:sldLayoutMkLst>
        </pc:sldLayoutChg>
        <pc:sldLayoutChg chg="add del">
          <pc:chgData name="Pinninti, Sai Sri Harsha" userId="S::spinninti6@gatech.edu::6ba08ae6-e7e9-4708-9553-1d23cd36dd19" providerId="AD" clId="Web-{BD8D4D30-ABA3-4B9F-B85A-AE53210B62CC}" dt="2023-04-17T05:08:23.551" v="5"/>
          <pc:sldLayoutMkLst>
            <pc:docMk/>
            <pc:sldMasterMk cId="2617258145" sldId="2147483660"/>
            <pc:sldLayoutMk cId="836247343" sldId="2147483673"/>
          </pc:sldLayoutMkLst>
        </pc:sldLayoutChg>
      </pc:sldMasterChg>
      <pc:sldMasterChg chg="modSldLayout">
        <pc:chgData name="Pinninti, Sai Sri Harsha" userId="S::spinninti6@gatech.edu::6ba08ae6-e7e9-4708-9553-1d23cd36dd19" providerId="AD" clId="Web-{BD8D4D30-ABA3-4B9F-B85A-AE53210B62CC}" dt="2023-04-17T05:08:23.551" v="5"/>
        <pc:sldMasterMkLst>
          <pc:docMk/>
          <pc:sldMasterMk cId="0" sldId="2147483675"/>
        </pc:sldMasterMkLst>
        <pc:sldLayoutChg chg="replId">
          <pc:chgData name="Pinninti, Sai Sri Harsha" userId="S::spinninti6@gatech.edu::6ba08ae6-e7e9-4708-9553-1d23cd36dd19" providerId="AD" clId="Web-{BD8D4D30-ABA3-4B9F-B85A-AE53210B62CC}" dt="2023-04-17T05:08:23.551" v="5"/>
          <pc:sldLayoutMkLst>
            <pc:docMk/>
            <pc:sldMasterMk cId="0" sldId="2147483675"/>
            <pc:sldLayoutMk cId="0" sldId="2147483663"/>
          </pc:sldLayoutMkLst>
        </pc:sldLayoutChg>
      </pc:sldMasterChg>
    </pc:docChg>
  </pc:docChgLst>
  <pc:docChgLst>
    <pc:chgData name="Gulati, Samaksh" userId="76cc74e2-ad50-438e-8856-e87917c4a465" providerId="ADAL" clId="{C4B836CF-7FAE-A04C-B398-B0A579F9CD27}"/>
    <pc:docChg chg="undo custSel addSld modSld sldOrd addSection modSection">
      <pc:chgData name="Gulati, Samaksh" userId="76cc74e2-ad50-438e-8856-e87917c4a465" providerId="ADAL" clId="{C4B836CF-7FAE-A04C-B398-B0A579F9CD27}" dt="2023-03-31T03:18:49.987" v="1715" actId="20577"/>
      <pc:docMkLst>
        <pc:docMk/>
      </pc:docMkLst>
      <pc:sldChg chg="ord">
        <pc:chgData name="Gulati, Samaksh" userId="76cc74e2-ad50-438e-8856-e87917c4a465" providerId="ADAL" clId="{C4B836CF-7FAE-A04C-B398-B0A579F9CD27}" dt="2023-03-27T23:41:49.100" v="5" actId="20578"/>
        <pc:sldMkLst>
          <pc:docMk/>
          <pc:sldMk cId="3564174657" sldId="316"/>
        </pc:sldMkLst>
      </pc:sldChg>
      <pc:sldChg chg="modSp mod">
        <pc:chgData name="Gulati, Samaksh" userId="76cc74e2-ad50-438e-8856-e87917c4a465" providerId="ADAL" clId="{C4B836CF-7FAE-A04C-B398-B0A579F9CD27}" dt="2023-03-31T01:42:16.561" v="41" actId="1076"/>
        <pc:sldMkLst>
          <pc:docMk/>
          <pc:sldMk cId="1435347701" sldId="323"/>
        </pc:sldMkLst>
        <pc:picChg chg="mod">
          <ac:chgData name="Gulati, Samaksh" userId="76cc74e2-ad50-438e-8856-e87917c4a465" providerId="ADAL" clId="{C4B836CF-7FAE-A04C-B398-B0A579F9CD27}" dt="2023-03-31T01:42:16.561" v="41" actId="1076"/>
          <ac:picMkLst>
            <pc:docMk/>
            <pc:sldMk cId="1435347701" sldId="323"/>
            <ac:picMk id="15" creationId="{F4285C87-DB17-D95B-1DE7-04EE20A29A4B}"/>
          </ac:picMkLst>
        </pc:picChg>
      </pc:sldChg>
      <pc:sldChg chg="addSp delSp modSp mod">
        <pc:chgData name="Gulati, Samaksh" userId="76cc74e2-ad50-438e-8856-e87917c4a465" providerId="ADAL" clId="{C4B836CF-7FAE-A04C-B398-B0A579F9CD27}" dt="2023-03-31T01:42:21.261" v="42" actId="1076"/>
        <pc:sldMkLst>
          <pc:docMk/>
          <pc:sldMk cId="208133519" sldId="324"/>
        </pc:sldMkLst>
        <pc:picChg chg="add del mod">
          <ac:chgData name="Gulati, Samaksh" userId="76cc74e2-ad50-438e-8856-e87917c4a465" providerId="ADAL" clId="{C4B836CF-7FAE-A04C-B398-B0A579F9CD27}" dt="2023-03-31T01:42:21.261" v="42" actId="1076"/>
          <ac:picMkLst>
            <pc:docMk/>
            <pc:sldMk cId="208133519" sldId="324"/>
            <ac:picMk id="2" creationId="{12DA31AB-EC08-D80B-EED4-9D07D7DE4289}"/>
          </ac:picMkLst>
        </pc:picChg>
        <pc:picChg chg="add del mod">
          <ac:chgData name="Gulati, Samaksh" userId="76cc74e2-ad50-438e-8856-e87917c4a465" providerId="ADAL" clId="{C4B836CF-7FAE-A04C-B398-B0A579F9CD27}" dt="2023-03-31T01:41:53.479" v="35" actId="478"/>
          <ac:picMkLst>
            <pc:docMk/>
            <pc:sldMk cId="208133519" sldId="324"/>
            <ac:picMk id="4" creationId="{BAE5567B-71C9-C49B-6E18-8A3EA5041FC5}"/>
          </ac:picMkLst>
        </pc:picChg>
      </pc:sldChg>
      <pc:sldChg chg="addSp delSp mod">
        <pc:chgData name="Gulati, Samaksh" userId="76cc74e2-ad50-438e-8856-e87917c4a465" providerId="ADAL" clId="{C4B836CF-7FAE-A04C-B398-B0A579F9CD27}" dt="2023-03-30T04:20:07.159" v="9" actId="22"/>
        <pc:sldMkLst>
          <pc:docMk/>
          <pc:sldMk cId="3884037906" sldId="336"/>
        </pc:sldMkLst>
        <pc:spChg chg="add del">
          <ac:chgData name="Gulati, Samaksh" userId="76cc74e2-ad50-438e-8856-e87917c4a465" providerId="ADAL" clId="{C4B836CF-7FAE-A04C-B398-B0A579F9CD27}" dt="2023-03-30T04:20:07.159" v="9" actId="22"/>
          <ac:spMkLst>
            <pc:docMk/>
            <pc:sldMk cId="3884037906" sldId="336"/>
            <ac:spMk id="12" creationId="{51B5A0D4-3C48-D3F5-C773-5029364BA869}"/>
          </ac:spMkLst>
        </pc:spChg>
      </pc:sldChg>
      <pc:sldChg chg="addSp delSp modSp mod">
        <pc:chgData name="Gulati, Samaksh" userId="76cc74e2-ad50-438e-8856-e87917c4a465" providerId="ADAL" clId="{C4B836CF-7FAE-A04C-B398-B0A579F9CD27}" dt="2023-03-31T01:32:46.670" v="25" actId="1076"/>
        <pc:sldMkLst>
          <pc:docMk/>
          <pc:sldMk cId="638772994" sldId="337"/>
        </pc:sldMkLst>
        <pc:picChg chg="del">
          <ac:chgData name="Gulati, Samaksh" userId="76cc74e2-ad50-438e-8856-e87917c4a465" providerId="ADAL" clId="{C4B836CF-7FAE-A04C-B398-B0A579F9CD27}" dt="2023-03-31T01:32:39.263" v="23" actId="478"/>
          <ac:picMkLst>
            <pc:docMk/>
            <pc:sldMk cId="638772994" sldId="337"/>
            <ac:picMk id="7" creationId="{9B6267F5-CA0B-9392-CF4A-A884E9CDF8F2}"/>
          </ac:picMkLst>
        </pc:picChg>
        <pc:picChg chg="add mod">
          <ac:chgData name="Gulati, Samaksh" userId="76cc74e2-ad50-438e-8856-e87917c4a465" providerId="ADAL" clId="{C4B836CF-7FAE-A04C-B398-B0A579F9CD27}" dt="2023-03-31T01:32:46.670" v="25" actId="1076"/>
          <ac:picMkLst>
            <pc:docMk/>
            <pc:sldMk cId="638772994" sldId="337"/>
            <ac:picMk id="9" creationId="{6F03D7CF-99D4-2A3E-F8B1-33C22510AFEA}"/>
          </ac:picMkLst>
        </pc:picChg>
      </pc:sldChg>
      <pc:sldChg chg="modSp mod">
        <pc:chgData name="Gulati, Samaksh" userId="76cc74e2-ad50-438e-8856-e87917c4a465" providerId="ADAL" clId="{C4B836CF-7FAE-A04C-B398-B0A579F9CD27}" dt="2023-03-31T03:09:59.150" v="785" actId="20577"/>
        <pc:sldMkLst>
          <pc:docMk/>
          <pc:sldMk cId="1273494731" sldId="355"/>
        </pc:sldMkLst>
        <pc:spChg chg="mod">
          <ac:chgData name="Gulati, Samaksh" userId="76cc74e2-ad50-438e-8856-e87917c4a465" providerId="ADAL" clId="{C4B836CF-7FAE-A04C-B398-B0A579F9CD27}" dt="2023-03-31T03:09:59.150" v="785" actId="20577"/>
          <ac:spMkLst>
            <pc:docMk/>
            <pc:sldMk cId="1273494731" sldId="355"/>
            <ac:spMk id="7" creationId="{54B0EB23-5D84-255B-1028-9B5EAAE24DA4}"/>
          </ac:spMkLst>
        </pc:spChg>
        <pc:spChg chg="mod">
          <ac:chgData name="Gulati, Samaksh" userId="76cc74e2-ad50-438e-8856-e87917c4a465" providerId="ADAL" clId="{C4B836CF-7FAE-A04C-B398-B0A579F9CD27}" dt="2023-03-31T03:09:22.376" v="740" actId="20577"/>
          <ac:spMkLst>
            <pc:docMk/>
            <pc:sldMk cId="1273494731" sldId="355"/>
            <ac:spMk id="8" creationId="{A540E93E-8B22-9A0E-3885-A1987C89DBD7}"/>
          </ac:spMkLst>
        </pc:spChg>
        <pc:spChg chg="mod">
          <ac:chgData name="Gulati, Samaksh" userId="76cc74e2-ad50-438e-8856-e87917c4a465" providerId="ADAL" clId="{C4B836CF-7FAE-A04C-B398-B0A579F9CD27}" dt="2023-03-31T03:01:09.600" v="462" actId="20577"/>
          <ac:spMkLst>
            <pc:docMk/>
            <pc:sldMk cId="1273494731" sldId="355"/>
            <ac:spMk id="9" creationId="{0AF981F2-A335-FB1A-BCAA-7A9D7ECE3E5A}"/>
          </ac:spMkLst>
        </pc:spChg>
        <pc:spChg chg="mod">
          <ac:chgData name="Gulati, Samaksh" userId="76cc74e2-ad50-438e-8856-e87917c4a465" providerId="ADAL" clId="{C4B836CF-7FAE-A04C-B398-B0A579F9CD27}" dt="2023-03-31T03:09:13.001" v="739" actId="20577"/>
          <ac:spMkLst>
            <pc:docMk/>
            <pc:sldMk cId="1273494731" sldId="355"/>
            <ac:spMk id="10" creationId="{2116C77F-781E-809F-A16A-84C83A799442}"/>
          </ac:spMkLst>
        </pc:spChg>
        <pc:cxnChg chg="mod">
          <ac:chgData name="Gulati, Samaksh" userId="76cc74e2-ad50-438e-8856-e87917c4a465" providerId="ADAL" clId="{C4B836CF-7FAE-A04C-B398-B0A579F9CD27}" dt="2023-03-31T03:09:35.327" v="742" actId="14100"/>
          <ac:cxnSpMkLst>
            <pc:docMk/>
            <pc:sldMk cId="1273494731" sldId="355"/>
            <ac:cxnSpMk id="11" creationId="{3D2FFE1C-02BD-1F78-97D8-04BBC2D75931}"/>
          </ac:cxnSpMkLst>
        </pc:cxnChg>
      </pc:sldChg>
      <pc:sldChg chg="add">
        <pc:chgData name="Gulati, Samaksh" userId="76cc74e2-ad50-438e-8856-e87917c4a465" providerId="ADAL" clId="{C4B836CF-7FAE-A04C-B398-B0A579F9CD27}" dt="2023-03-30T04:22:16.438" v="12"/>
        <pc:sldMkLst>
          <pc:docMk/>
          <pc:sldMk cId="751250188" sldId="579"/>
        </pc:sldMkLst>
      </pc:sldChg>
      <pc:sldChg chg="modSp mod">
        <pc:chgData name="Gulati, Samaksh" userId="76cc74e2-ad50-438e-8856-e87917c4a465" providerId="ADAL" clId="{C4B836CF-7FAE-A04C-B398-B0A579F9CD27}" dt="2023-03-31T03:11:13.626" v="817" actId="20577"/>
        <pc:sldMkLst>
          <pc:docMk/>
          <pc:sldMk cId="1169807257" sldId="752"/>
        </pc:sldMkLst>
        <pc:spChg chg="mod">
          <ac:chgData name="Gulati, Samaksh" userId="76cc74e2-ad50-438e-8856-e87917c4a465" providerId="ADAL" clId="{C4B836CF-7FAE-A04C-B398-B0A579F9CD27}" dt="2023-03-31T03:11:13.626" v="817" actId="20577"/>
          <ac:spMkLst>
            <pc:docMk/>
            <pc:sldMk cId="1169807257" sldId="752"/>
            <ac:spMk id="106" creationId="{728CD11D-C6CE-40F0-ABC2-92A29DD44D7B}"/>
          </ac:spMkLst>
        </pc:spChg>
      </pc:sldChg>
      <pc:sldChg chg="add">
        <pc:chgData name="Gulati, Samaksh" userId="76cc74e2-ad50-438e-8856-e87917c4a465" providerId="ADAL" clId="{C4B836CF-7FAE-A04C-B398-B0A579F9CD27}" dt="2023-03-30T04:21:26.130" v="11"/>
        <pc:sldMkLst>
          <pc:docMk/>
          <pc:sldMk cId="2136304429" sldId="2032092754"/>
        </pc:sldMkLst>
      </pc:sldChg>
      <pc:sldChg chg="modSp add">
        <pc:chgData name="Gulati, Samaksh" userId="76cc74e2-ad50-438e-8856-e87917c4a465" providerId="ADAL" clId="{C4B836CF-7FAE-A04C-B398-B0A579F9CD27}" dt="2023-03-30T04:20:40.141" v="10"/>
        <pc:sldMkLst>
          <pc:docMk/>
          <pc:sldMk cId="114930875" sldId="2032092842"/>
        </pc:sldMkLst>
        <pc:graphicFrameChg chg="mod">
          <ac:chgData name="Gulati, Samaksh" userId="76cc74e2-ad50-438e-8856-e87917c4a465" providerId="ADAL" clId="{C4B836CF-7FAE-A04C-B398-B0A579F9CD27}" dt="2023-03-30T04:20:40.141" v="10"/>
          <ac:graphicFrameMkLst>
            <pc:docMk/>
            <pc:sldMk cId="114930875" sldId="2032092842"/>
            <ac:graphicFrameMk id="8" creationId="{F486BD97-78AD-400D-BCE0-2916FBA8AD2A}"/>
          </ac:graphicFrameMkLst>
        </pc:graphicFrameChg>
      </pc:sldChg>
      <pc:sldChg chg="add">
        <pc:chgData name="Gulati, Samaksh" userId="76cc74e2-ad50-438e-8856-e87917c4a465" providerId="ADAL" clId="{C4B836CF-7FAE-A04C-B398-B0A579F9CD27}" dt="2023-03-30T04:23:12.041" v="14"/>
        <pc:sldMkLst>
          <pc:docMk/>
          <pc:sldMk cId="2814362586" sldId="2032093284"/>
        </pc:sldMkLst>
      </pc:sldChg>
      <pc:sldChg chg="modSp mod">
        <pc:chgData name="Gulati, Samaksh" userId="76cc74e2-ad50-438e-8856-e87917c4a465" providerId="ADAL" clId="{C4B836CF-7FAE-A04C-B398-B0A579F9CD27}" dt="2023-03-31T02:21:36.572" v="258" actId="207"/>
        <pc:sldMkLst>
          <pc:docMk/>
          <pc:sldMk cId="2677383997" sldId="2141411865"/>
        </pc:sldMkLst>
        <pc:spChg chg="mod">
          <ac:chgData name="Gulati, Samaksh" userId="76cc74e2-ad50-438e-8856-e87917c4a465" providerId="ADAL" clId="{C4B836CF-7FAE-A04C-B398-B0A579F9CD27}" dt="2023-03-31T02:21:36.572" v="258" actId="207"/>
          <ac:spMkLst>
            <pc:docMk/>
            <pc:sldMk cId="2677383997" sldId="2141411865"/>
            <ac:spMk id="4" creationId="{57197048-F1B9-38AB-DC8B-5E769897413B}"/>
          </ac:spMkLst>
        </pc:spChg>
      </pc:sldChg>
      <pc:sldChg chg="modSp mod">
        <pc:chgData name="Gulati, Samaksh" userId="76cc74e2-ad50-438e-8856-e87917c4a465" providerId="ADAL" clId="{C4B836CF-7FAE-A04C-B398-B0A579F9CD27}" dt="2023-03-31T02:07:06.450" v="257" actId="20577"/>
        <pc:sldMkLst>
          <pc:docMk/>
          <pc:sldMk cId="2274002553" sldId="2141411866"/>
        </pc:sldMkLst>
        <pc:spChg chg="mod">
          <ac:chgData name="Gulati, Samaksh" userId="76cc74e2-ad50-438e-8856-e87917c4a465" providerId="ADAL" clId="{C4B836CF-7FAE-A04C-B398-B0A579F9CD27}" dt="2023-03-31T02:07:06.450" v="257" actId="20577"/>
          <ac:spMkLst>
            <pc:docMk/>
            <pc:sldMk cId="2274002553" sldId="2141411866"/>
            <ac:spMk id="14" creationId="{D899B259-B9C4-EC4C-68D0-0CE1B7AA7781}"/>
          </ac:spMkLst>
        </pc:spChg>
      </pc:sldChg>
      <pc:sldChg chg="addSp delSp modSp mod">
        <pc:chgData name="Gulati, Samaksh" userId="76cc74e2-ad50-438e-8856-e87917c4a465" providerId="ADAL" clId="{C4B836CF-7FAE-A04C-B398-B0A579F9CD27}" dt="2023-03-31T01:49:15.972" v="84" actId="1076"/>
        <pc:sldMkLst>
          <pc:docMk/>
          <pc:sldMk cId="2274967187" sldId="2141411868"/>
        </pc:sldMkLst>
        <pc:spChg chg="del">
          <ac:chgData name="Gulati, Samaksh" userId="76cc74e2-ad50-438e-8856-e87917c4a465" providerId="ADAL" clId="{C4B836CF-7FAE-A04C-B398-B0A579F9CD27}" dt="2023-03-31T01:45:23.050" v="52" actId="478"/>
          <ac:spMkLst>
            <pc:docMk/>
            <pc:sldMk cId="2274967187" sldId="2141411868"/>
            <ac:spMk id="2" creationId="{00968631-1635-6456-04C6-1CABDC54A6E2}"/>
          </ac:spMkLst>
        </pc:spChg>
        <pc:spChg chg="mod">
          <ac:chgData name="Gulati, Samaksh" userId="76cc74e2-ad50-438e-8856-e87917c4a465" providerId="ADAL" clId="{C4B836CF-7FAE-A04C-B398-B0A579F9CD27}" dt="2023-03-31T01:47:20.220" v="73" actId="1076"/>
          <ac:spMkLst>
            <pc:docMk/>
            <pc:sldMk cId="2274967187" sldId="2141411868"/>
            <ac:spMk id="8" creationId="{2423C809-83F6-B6E3-EEA1-3B964A3937D8}"/>
          </ac:spMkLst>
        </pc:spChg>
        <pc:spChg chg="add del">
          <ac:chgData name="Gulati, Samaksh" userId="76cc74e2-ad50-438e-8856-e87917c4a465" providerId="ADAL" clId="{C4B836CF-7FAE-A04C-B398-B0A579F9CD27}" dt="2023-03-31T01:47:15.752" v="71" actId="478"/>
          <ac:spMkLst>
            <pc:docMk/>
            <pc:sldMk cId="2274967187" sldId="2141411868"/>
            <ac:spMk id="195" creationId="{EDA6B406-4C92-476F-8401-1200D903A65E}"/>
          </ac:spMkLst>
        </pc:spChg>
        <pc:picChg chg="add del">
          <ac:chgData name="Gulati, Samaksh" userId="76cc74e2-ad50-438e-8856-e87917c4a465" providerId="ADAL" clId="{C4B836CF-7FAE-A04C-B398-B0A579F9CD27}" dt="2023-03-31T01:44:55.822" v="44"/>
          <ac:picMkLst>
            <pc:docMk/>
            <pc:sldMk cId="2274967187" sldId="2141411868"/>
            <ac:picMk id="42" creationId="{F72274C3-D9F0-A950-F0B5-4BEDB82DDEDC}"/>
          </ac:picMkLst>
        </pc:picChg>
        <pc:picChg chg="add del mod">
          <ac:chgData name="Gulati, Samaksh" userId="76cc74e2-ad50-438e-8856-e87917c4a465" providerId="ADAL" clId="{C4B836CF-7FAE-A04C-B398-B0A579F9CD27}" dt="2023-03-31T01:46:06.755" v="60" actId="478"/>
          <ac:picMkLst>
            <pc:docMk/>
            <pc:sldMk cId="2274967187" sldId="2141411868"/>
            <ac:picMk id="43" creationId="{9EF815FB-743F-CB76-B739-9A88E052D57D}"/>
          </ac:picMkLst>
        </pc:picChg>
        <pc:picChg chg="add del mod">
          <ac:chgData name="Gulati, Samaksh" userId="76cc74e2-ad50-438e-8856-e87917c4a465" providerId="ADAL" clId="{C4B836CF-7FAE-A04C-B398-B0A579F9CD27}" dt="2023-03-31T01:49:08.175" v="80" actId="478"/>
          <ac:picMkLst>
            <pc:docMk/>
            <pc:sldMk cId="2274967187" sldId="2141411868"/>
            <ac:picMk id="45" creationId="{4913F57A-ED38-3787-E8E4-A0096A265A3D}"/>
          </ac:picMkLst>
        </pc:picChg>
        <pc:picChg chg="add del">
          <ac:chgData name="Gulati, Samaksh" userId="76cc74e2-ad50-438e-8856-e87917c4a465" providerId="ADAL" clId="{C4B836CF-7FAE-A04C-B398-B0A579F9CD27}" dt="2023-03-31T01:48:44.939" v="75"/>
          <ac:picMkLst>
            <pc:docMk/>
            <pc:sldMk cId="2274967187" sldId="2141411868"/>
            <ac:picMk id="47" creationId="{547038C0-D9B0-3555-6537-A92FC63AFDE5}"/>
          </ac:picMkLst>
        </pc:picChg>
        <pc:picChg chg="add mod">
          <ac:chgData name="Gulati, Samaksh" userId="76cc74e2-ad50-438e-8856-e87917c4a465" providerId="ADAL" clId="{C4B836CF-7FAE-A04C-B398-B0A579F9CD27}" dt="2023-03-31T01:49:15.972" v="84" actId="1076"/>
          <ac:picMkLst>
            <pc:docMk/>
            <pc:sldMk cId="2274967187" sldId="2141411868"/>
            <ac:picMk id="52" creationId="{ECFC694A-BD8B-8238-A40B-52DC10212C2E}"/>
          </ac:picMkLst>
        </pc:picChg>
      </pc:sldChg>
      <pc:sldChg chg="addSp delSp modSp mod">
        <pc:chgData name="Gulati, Samaksh" userId="76cc74e2-ad50-438e-8856-e87917c4a465" providerId="ADAL" clId="{C4B836CF-7FAE-A04C-B398-B0A579F9CD27}" dt="2023-03-31T03:13:17.992" v="823" actId="208"/>
        <pc:sldMkLst>
          <pc:docMk/>
          <pc:sldMk cId="3875709419" sldId="2141411870"/>
        </pc:sldMkLst>
        <pc:spChg chg="del">
          <ac:chgData name="Gulati, Samaksh" userId="76cc74e2-ad50-438e-8856-e87917c4a465" providerId="ADAL" clId="{C4B836CF-7FAE-A04C-B398-B0A579F9CD27}" dt="2023-03-31T01:52:26.772" v="85" actId="478"/>
          <ac:spMkLst>
            <pc:docMk/>
            <pc:sldMk cId="3875709419" sldId="2141411870"/>
            <ac:spMk id="2" creationId="{00968631-1635-6456-04C6-1CABDC54A6E2}"/>
          </ac:spMkLst>
        </pc:spChg>
        <pc:spChg chg="topLvl">
          <ac:chgData name="Gulati, Samaksh" userId="76cc74e2-ad50-438e-8856-e87917c4a465" providerId="ADAL" clId="{C4B836CF-7FAE-A04C-B398-B0A579F9CD27}" dt="2023-03-31T03:13:04.312" v="821" actId="165"/>
          <ac:spMkLst>
            <pc:docMk/>
            <pc:sldMk cId="3875709419" sldId="2141411870"/>
            <ac:spMk id="24" creationId="{473AE47D-ECF5-3F71-7B91-DE562C36474F}"/>
          </ac:spMkLst>
        </pc:spChg>
        <pc:spChg chg="topLvl">
          <ac:chgData name="Gulati, Samaksh" userId="76cc74e2-ad50-438e-8856-e87917c4a465" providerId="ADAL" clId="{C4B836CF-7FAE-A04C-B398-B0A579F9CD27}" dt="2023-03-31T03:13:04.312" v="821" actId="165"/>
          <ac:spMkLst>
            <pc:docMk/>
            <pc:sldMk cId="3875709419" sldId="2141411870"/>
            <ac:spMk id="26" creationId="{6C347505-0002-00A6-A8F7-69DB8981FCA9}"/>
          </ac:spMkLst>
        </pc:spChg>
        <pc:grpChg chg="mod">
          <ac:chgData name="Gulati, Samaksh" userId="76cc74e2-ad50-438e-8856-e87917c4a465" providerId="ADAL" clId="{C4B836CF-7FAE-A04C-B398-B0A579F9CD27}" dt="2023-03-31T03:12:21.760" v="819" actId="1076"/>
          <ac:grpSpMkLst>
            <pc:docMk/>
            <pc:sldMk cId="3875709419" sldId="2141411870"/>
            <ac:grpSpMk id="13" creationId="{CC1454DB-3561-117A-158B-41D65C901EB6}"/>
          </ac:grpSpMkLst>
        </pc:grpChg>
        <pc:grpChg chg="del mod">
          <ac:chgData name="Gulati, Samaksh" userId="76cc74e2-ad50-438e-8856-e87917c4a465" providerId="ADAL" clId="{C4B836CF-7FAE-A04C-B398-B0A579F9CD27}" dt="2023-03-31T03:13:04.312" v="821" actId="165"/>
          <ac:grpSpMkLst>
            <pc:docMk/>
            <pc:sldMk cId="3875709419" sldId="2141411870"/>
            <ac:grpSpMk id="29" creationId="{15B7FB8C-6935-1FC6-AE30-7C47B5EF8A40}"/>
          </ac:grpSpMkLst>
        </pc:grpChg>
        <pc:grpChg chg="mod">
          <ac:chgData name="Gulati, Samaksh" userId="76cc74e2-ad50-438e-8856-e87917c4a465" providerId="ADAL" clId="{C4B836CF-7FAE-A04C-B398-B0A579F9CD27}" dt="2023-03-31T03:11:31.316" v="818" actId="1076"/>
          <ac:grpSpMkLst>
            <pc:docMk/>
            <pc:sldMk cId="3875709419" sldId="2141411870"/>
            <ac:grpSpMk id="57" creationId="{CB939749-165F-494E-0101-54329A97F975}"/>
          </ac:grpSpMkLst>
        </pc:grpChg>
        <pc:picChg chg="add del mod">
          <ac:chgData name="Gulati, Samaksh" userId="76cc74e2-ad50-438e-8856-e87917c4a465" providerId="ADAL" clId="{C4B836CF-7FAE-A04C-B398-B0A579F9CD27}" dt="2023-03-31T01:54:14.853" v="108" actId="478"/>
          <ac:picMkLst>
            <pc:docMk/>
            <pc:sldMk cId="3875709419" sldId="2141411870"/>
            <ac:picMk id="3" creationId="{DF13948E-CF77-6237-F3FD-43A852AEA825}"/>
          </ac:picMkLst>
        </pc:picChg>
        <pc:picChg chg="add mod">
          <ac:chgData name="Gulati, Samaksh" userId="76cc74e2-ad50-438e-8856-e87917c4a465" providerId="ADAL" clId="{C4B836CF-7FAE-A04C-B398-B0A579F9CD27}" dt="2023-03-31T01:54:41.699" v="146" actId="14100"/>
          <ac:picMkLst>
            <pc:docMk/>
            <pc:sldMk cId="3875709419" sldId="2141411870"/>
            <ac:picMk id="5" creationId="{B91D645E-E6D2-4C47-F5DF-9DB0BA3CE37F}"/>
          </ac:picMkLst>
        </pc:picChg>
        <pc:cxnChg chg="mod">
          <ac:chgData name="Gulati, Samaksh" userId="76cc74e2-ad50-438e-8856-e87917c4a465" providerId="ADAL" clId="{C4B836CF-7FAE-A04C-B398-B0A579F9CD27}" dt="2023-03-31T03:13:17.992" v="823" actId="208"/>
          <ac:cxnSpMkLst>
            <pc:docMk/>
            <pc:sldMk cId="3875709419" sldId="2141411870"/>
            <ac:cxnSpMk id="15" creationId="{9C6DE27E-2138-AAC2-499A-6B8ED6D9F759}"/>
          </ac:cxnSpMkLst>
        </pc:cxnChg>
        <pc:cxnChg chg="mod topLvl">
          <ac:chgData name="Gulati, Samaksh" userId="76cc74e2-ad50-438e-8856-e87917c4a465" providerId="ADAL" clId="{C4B836CF-7FAE-A04C-B398-B0A579F9CD27}" dt="2023-03-31T03:13:13.069" v="822" actId="208"/>
          <ac:cxnSpMkLst>
            <pc:docMk/>
            <pc:sldMk cId="3875709419" sldId="2141411870"/>
            <ac:cxnSpMk id="25" creationId="{4EB686F4-9D1A-ADEF-435D-C4C762630328}"/>
          </ac:cxnSpMkLst>
        </pc:cxnChg>
      </pc:sldChg>
      <pc:sldChg chg="addSp delSp modSp add mod">
        <pc:chgData name="Gulati, Samaksh" userId="76cc74e2-ad50-438e-8856-e87917c4a465" providerId="ADAL" clId="{C4B836CF-7FAE-A04C-B398-B0A579F9CD27}" dt="2023-03-31T03:13:44.230" v="848" actId="20577"/>
        <pc:sldMkLst>
          <pc:docMk/>
          <pc:sldMk cId="75299640" sldId="2141411873"/>
        </pc:sldMkLst>
        <pc:spChg chg="del">
          <ac:chgData name="Gulati, Samaksh" userId="76cc74e2-ad50-438e-8856-e87917c4a465" providerId="ADAL" clId="{C4B836CF-7FAE-A04C-B398-B0A579F9CD27}" dt="2023-03-31T02:56:24.565" v="278" actId="478"/>
          <ac:spMkLst>
            <pc:docMk/>
            <pc:sldMk cId="75299640" sldId="2141411873"/>
            <ac:spMk id="6" creationId="{03EB7F17-9363-D1C3-36FE-89445E4CA329}"/>
          </ac:spMkLst>
        </pc:spChg>
        <pc:spChg chg="del">
          <ac:chgData name="Gulati, Samaksh" userId="76cc74e2-ad50-438e-8856-e87917c4a465" providerId="ADAL" clId="{C4B836CF-7FAE-A04C-B398-B0A579F9CD27}" dt="2023-03-31T02:56:15.433" v="276" actId="478"/>
          <ac:spMkLst>
            <pc:docMk/>
            <pc:sldMk cId="75299640" sldId="2141411873"/>
            <ac:spMk id="8" creationId="{F7486D87-518B-7CF5-9A9A-14AD3D158E00}"/>
          </ac:spMkLst>
        </pc:spChg>
        <pc:spChg chg="mod">
          <ac:chgData name="Gulati, Samaksh" userId="76cc74e2-ad50-438e-8856-e87917c4a465" providerId="ADAL" clId="{C4B836CF-7FAE-A04C-B398-B0A579F9CD27}" dt="2023-03-31T02:59:32.720" v="399" actId="255"/>
          <ac:spMkLst>
            <pc:docMk/>
            <pc:sldMk cId="75299640" sldId="2141411873"/>
            <ac:spMk id="14" creationId="{8DA30DDC-072C-B2FE-E533-A0E8A621E423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18" creationId="{4C01FC52-FFCF-C9C4-19F9-381764C9F2F6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19" creationId="{AC3F76E1-5106-0F2D-258B-768A5B4F9E7F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21" creationId="{D3D60A6D-3256-211C-4439-47A7E14BC55E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22" creationId="{FAB6FDFF-158A-3177-6108-ED3739A9FD5D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23" creationId="{43BAE2BE-5AF9-EFB3-552D-58D30FC663B7}"/>
          </ac:spMkLst>
        </pc:spChg>
        <pc:spChg chg="mod">
          <ac:chgData name="Gulati, Samaksh" userId="76cc74e2-ad50-438e-8856-e87917c4a465" providerId="ADAL" clId="{C4B836CF-7FAE-A04C-B398-B0A579F9CD27}" dt="2023-03-31T03:00:01.492" v="402" actId="255"/>
          <ac:spMkLst>
            <pc:docMk/>
            <pc:sldMk cId="75299640" sldId="2141411873"/>
            <ac:spMk id="24" creationId="{50CF68B6-A116-666E-9CCE-D522D32A46AB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28" creationId="{B04599AC-52D7-047B-78B9-EA5FC4A677AE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29" creationId="{4048FDA6-BB0F-C77F-0E60-D7020F66409B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31" creationId="{8EA1F5D0-29C4-1A80-611A-BDD53694A8C4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32" creationId="{0907DE2D-FA78-7CB5-27BA-F2893888CB9B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33" creationId="{0395CA16-339A-FF80-31F7-C2CF56D88028}"/>
          </ac:spMkLst>
        </pc:spChg>
        <pc:spChg chg="mod">
          <ac:chgData name="Gulati, Samaksh" userId="76cc74e2-ad50-438e-8856-e87917c4a465" providerId="ADAL" clId="{C4B836CF-7FAE-A04C-B398-B0A579F9CD27}" dt="2023-03-31T03:00:07.071" v="403" actId="255"/>
          <ac:spMkLst>
            <pc:docMk/>
            <pc:sldMk cId="75299640" sldId="2141411873"/>
            <ac:spMk id="34" creationId="{F36FA7FD-D5FC-7A9A-3388-C9935A579A1B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38" creationId="{05995F41-8346-12A8-5962-C9E49CB337A3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39" creationId="{F24D2D80-7F6D-9421-E394-CF9D94294ED2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41" creationId="{084FBCFC-23EF-10EB-4791-136E73B6D178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42" creationId="{7FAF542E-E9CF-BD88-F190-8F42722854D7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43" creationId="{E06656B1-A268-2A3A-3D2E-53725FC9E05B}"/>
          </ac:spMkLst>
        </pc:spChg>
        <pc:spChg chg="mod">
          <ac:chgData name="Gulati, Samaksh" userId="76cc74e2-ad50-438e-8856-e87917c4a465" providerId="ADAL" clId="{C4B836CF-7FAE-A04C-B398-B0A579F9CD27}" dt="2023-03-31T03:13:44.230" v="848" actId="20577"/>
          <ac:spMkLst>
            <pc:docMk/>
            <pc:sldMk cId="75299640" sldId="2141411873"/>
            <ac:spMk id="47" creationId="{74C02387-917F-82CF-2ECF-4866520BFD2A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48" creationId="{820DEA2D-68C5-4E38-6E73-3C4F7B264C3D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50" creationId="{197F4DC9-F357-C7D8-34F8-38409519DC76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52" creationId="{EA5BF28A-11A4-95EF-C885-F3B4FF8B3F7B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53" creationId="{E1B011AC-BFB7-802B-2485-20E19BD8A088}"/>
          </ac:spMkLst>
        </pc:spChg>
        <pc:spChg chg="mod">
          <ac:chgData name="Gulati, Samaksh" userId="76cc74e2-ad50-438e-8856-e87917c4a465" providerId="ADAL" clId="{C4B836CF-7FAE-A04C-B398-B0A579F9CD27}" dt="2023-03-31T02:56:51.008" v="279"/>
          <ac:spMkLst>
            <pc:docMk/>
            <pc:sldMk cId="75299640" sldId="2141411873"/>
            <ac:spMk id="54" creationId="{9EA94B86-9B38-A6FF-4788-90C203DF0382}"/>
          </ac:spMkLst>
        </pc:spChg>
        <pc:spChg chg="mod">
          <ac:chgData name="Gulati, Samaksh" userId="76cc74e2-ad50-438e-8856-e87917c4a465" providerId="ADAL" clId="{C4B836CF-7FAE-A04C-B398-B0A579F9CD27}" dt="2023-03-31T02:56:11.510" v="274" actId="20577"/>
          <ac:spMkLst>
            <pc:docMk/>
            <pc:sldMk cId="75299640" sldId="2141411873"/>
            <ac:spMk id="235" creationId="{00000000-0000-0000-0000-000000000000}"/>
          </ac:spMkLst>
        </pc:spChg>
        <pc:grpChg chg="add mod">
          <ac:chgData name="Gulati, Samaksh" userId="76cc74e2-ad50-438e-8856-e87917c4a465" providerId="ADAL" clId="{C4B836CF-7FAE-A04C-B398-B0A579F9CD27}" dt="2023-03-31T02:56:51.008" v="279"/>
          <ac:grpSpMkLst>
            <pc:docMk/>
            <pc:sldMk cId="75299640" sldId="2141411873"/>
            <ac:grpSpMk id="5" creationId="{85D75838-E2E7-EAD2-E3B9-41B6756E409F}"/>
          </ac:grpSpMkLst>
        </pc:grpChg>
        <pc:grpChg chg="mod">
          <ac:chgData name="Gulati, Samaksh" userId="76cc74e2-ad50-438e-8856-e87917c4a465" providerId="ADAL" clId="{C4B836CF-7FAE-A04C-B398-B0A579F9CD27}" dt="2023-03-31T02:56:51.008" v="279"/>
          <ac:grpSpMkLst>
            <pc:docMk/>
            <pc:sldMk cId="75299640" sldId="2141411873"/>
            <ac:grpSpMk id="7" creationId="{6DA8E569-D54E-67B2-18B1-E7CFDEA261C9}"/>
          </ac:grpSpMkLst>
        </pc:grpChg>
        <pc:grpChg chg="mod">
          <ac:chgData name="Gulati, Samaksh" userId="76cc74e2-ad50-438e-8856-e87917c4a465" providerId="ADAL" clId="{C4B836CF-7FAE-A04C-B398-B0A579F9CD27}" dt="2023-03-31T02:56:51.008" v="279"/>
          <ac:grpSpMkLst>
            <pc:docMk/>
            <pc:sldMk cId="75299640" sldId="2141411873"/>
            <ac:grpSpMk id="11" creationId="{A47E0EF6-57C1-8A7E-6AA4-5684B4BB588F}"/>
          </ac:grpSpMkLst>
        </pc:grpChg>
        <pc:grpChg chg="mod">
          <ac:chgData name="Gulati, Samaksh" userId="76cc74e2-ad50-438e-8856-e87917c4a465" providerId="ADAL" clId="{C4B836CF-7FAE-A04C-B398-B0A579F9CD27}" dt="2023-03-31T02:56:51.008" v="279"/>
          <ac:grpSpMkLst>
            <pc:docMk/>
            <pc:sldMk cId="75299640" sldId="2141411873"/>
            <ac:grpSpMk id="12" creationId="{78351976-99D4-8441-9158-4DBBEBAF8D4B}"/>
          </ac:grpSpMkLst>
        </pc:grpChg>
        <pc:grpChg chg="mod">
          <ac:chgData name="Gulati, Samaksh" userId="76cc74e2-ad50-438e-8856-e87917c4a465" providerId="ADAL" clId="{C4B836CF-7FAE-A04C-B398-B0A579F9CD27}" dt="2023-03-31T02:56:51.008" v="279"/>
          <ac:grpSpMkLst>
            <pc:docMk/>
            <pc:sldMk cId="75299640" sldId="2141411873"/>
            <ac:grpSpMk id="13" creationId="{A2A5C81B-F9B1-26A8-46A0-567207074102}"/>
          </ac:grpSpMkLst>
        </pc:grpChg>
        <pc:grpChg chg="mod">
          <ac:chgData name="Gulati, Samaksh" userId="76cc74e2-ad50-438e-8856-e87917c4a465" providerId="ADAL" clId="{C4B836CF-7FAE-A04C-B398-B0A579F9CD27}" dt="2023-03-31T02:56:51.008" v="279"/>
          <ac:grpSpMkLst>
            <pc:docMk/>
            <pc:sldMk cId="75299640" sldId="2141411873"/>
            <ac:grpSpMk id="15" creationId="{40BDE64E-A9B9-45D0-900D-7E45AB988EF9}"/>
          </ac:grpSpMkLst>
        </pc:grpChg>
        <pc:grpChg chg="mod">
          <ac:chgData name="Gulati, Samaksh" userId="76cc74e2-ad50-438e-8856-e87917c4a465" providerId="ADAL" clId="{C4B836CF-7FAE-A04C-B398-B0A579F9CD27}" dt="2023-03-31T02:56:51.008" v="279"/>
          <ac:grpSpMkLst>
            <pc:docMk/>
            <pc:sldMk cId="75299640" sldId="2141411873"/>
            <ac:grpSpMk id="17" creationId="{99E32850-1E4F-3CB9-4B72-3B3315609B0B}"/>
          </ac:grpSpMkLst>
        </pc:grpChg>
        <pc:grpChg chg="mod">
          <ac:chgData name="Gulati, Samaksh" userId="76cc74e2-ad50-438e-8856-e87917c4a465" providerId="ADAL" clId="{C4B836CF-7FAE-A04C-B398-B0A579F9CD27}" dt="2023-03-31T02:56:51.008" v="279"/>
          <ac:grpSpMkLst>
            <pc:docMk/>
            <pc:sldMk cId="75299640" sldId="2141411873"/>
            <ac:grpSpMk id="25" creationId="{D1D0C65E-EC21-3F6C-7A22-37FC1EFB3A17}"/>
          </ac:grpSpMkLst>
        </pc:grpChg>
        <pc:grpChg chg="mod">
          <ac:chgData name="Gulati, Samaksh" userId="76cc74e2-ad50-438e-8856-e87917c4a465" providerId="ADAL" clId="{C4B836CF-7FAE-A04C-B398-B0A579F9CD27}" dt="2023-03-31T02:56:51.008" v="279"/>
          <ac:grpSpMkLst>
            <pc:docMk/>
            <pc:sldMk cId="75299640" sldId="2141411873"/>
            <ac:grpSpMk id="27" creationId="{21A0D3F4-7A44-79A3-DF9F-FCD3C5A2A540}"/>
          </ac:grpSpMkLst>
        </pc:grpChg>
        <pc:grpChg chg="mod">
          <ac:chgData name="Gulati, Samaksh" userId="76cc74e2-ad50-438e-8856-e87917c4a465" providerId="ADAL" clId="{C4B836CF-7FAE-A04C-B398-B0A579F9CD27}" dt="2023-03-31T02:56:51.008" v="279"/>
          <ac:grpSpMkLst>
            <pc:docMk/>
            <pc:sldMk cId="75299640" sldId="2141411873"/>
            <ac:grpSpMk id="35" creationId="{BD38242C-DA82-3A58-60AF-C85A258E1346}"/>
          </ac:grpSpMkLst>
        </pc:grpChg>
        <pc:grpChg chg="mod">
          <ac:chgData name="Gulati, Samaksh" userId="76cc74e2-ad50-438e-8856-e87917c4a465" providerId="ADAL" clId="{C4B836CF-7FAE-A04C-B398-B0A579F9CD27}" dt="2023-03-31T02:56:51.008" v="279"/>
          <ac:grpSpMkLst>
            <pc:docMk/>
            <pc:sldMk cId="75299640" sldId="2141411873"/>
            <ac:grpSpMk id="37" creationId="{84409008-F6D0-BC51-87EB-5D331492F122}"/>
          </ac:grpSpMkLst>
        </pc:grpChg>
        <pc:grpChg chg="mod">
          <ac:chgData name="Gulati, Samaksh" userId="76cc74e2-ad50-438e-8856-e87917c4a465" providerId="ADAL" clId="{C4B836CF-7FAE-A04C-B398-B0A579F9CD27}" dt="2023-03-31T02:56:51.008" v="279"/>
          <ac:grpSpMkLst>
            <pc:docMk/>
            <pc:sldMk cId="75299640" sldId="2141411873"/>
            <ac:grpSpMk id="44" creationId="{59897A83-4864-D32D-A0BE-2C5DF487E54D}"/>
          </ac:grpSpMkLst>
        </pc:grpChg>
        <pc:grpChg chg="mod">
          <ac:chgData name="Gulati, Samaksh" userId="76cc74e2-ad50-438e-8856-e87917c4a465" providerId="ADAL" clId="{C4B836CF-7FAE-A04C-B398-B0A579F9CD27}" dt="2023-03-31T02:56:51.008" v="279"/>
          <ac:grpSpMkLst>
            <pc:docMk/>
            <pc:sldMk cId="75299640" sldId="2141411873"/>
            <ac:grpSpMk id="46" creationId="{4B149BE2-29A0-4494-90FD-B04E03C83290}"/>
          </ac:grpSpMkLst>
        </pc:grpChg>
        <pc:grpChg chg="mod">
          <ac:chgData name="Gulati, Samaksh" userId="76cc74e2-ad50-438e-8856-e87917c4a465" providerId="ADAL" clId="{C4B836CF-7FAE-A04C-B398-B0A579F9CD27}" dt="2023-03-31T02:56:51.008" v="279"/>
          <ac:grpSpMkLst>
            <pc:docMk/>
            <pc:sldMk cId="75299640" sldId="2141411873"/>
            <ac:grpSpMk id="49" creationId="{03E01CB1-F670-DC8D-B0E8-E7CB78DF60AD}"/>
          </ac:grpSpMkLst>
        </pc:grpChg>
        <pc:picChg chg="del">
          <ac:chgData name="Gulati, Samaksh" userId="76cc74e2-ad50-438e-8856-e87917c4a465" providerId="ADAL" clId="{C4B836CF-7FAE-A04C-B398-B0A579F9CD27}" dt="2023-03-31T02:56:14.217" v="275" actId="478"/>
          <ac:picMkLst>
            <pc:docMk/>
            <pc:sldMk cId="75299640" sldId="2141411873"/>
            <ac:picMk id="9" creationId="{6F03D7CF-99D4-2A3E-F8B1-33C22510AFEA}"/>
          </ac:picMkLst>
        </pc:picChg>
        <pc:picChg chg="add del mod">
          <ac:chgData name="Gulati, Samaksh" userId="76cc74e2-ad50-438e-8856-e87917c4a465" providerId="ADAL" clId="{C4B836CF-7FAE-A04C-B398-B0A579F9CD27}" dt="2023-03-31T02:59:08.429" v="395" actId="478"/>
          <ac:picMkLst>
            <pc:docMk/>
            <pc:sldMk cId="75299640" sldId="2141411873"/>
            <ac:picMk id="55" creationId="{F0DAE853-D6CB-7D93-1BD6-3112AEA4AA02}"/>
          </ac:picMkLst>
        </pc:picChg>
        <pc:picChg chg="add del mod">
          <ac:chgData name="Gulati, Samaksh" userId="76cc74e2-ad50-438e-8856-e87917c4a465" providerId="ADAL" clId="{C4B836CF-7FAE-A04C-B398-B0A579F9CD27}" dt="2023-03-31T02:59:07.177" v="394" actId="478"/>
          <ac:picMkLst>
            <pc:docMk/>
            <pc:sldMk cId="75299640" sldId="2141411873"/>
            <ac:picMk id="56" creationId="{DBFFDA8D-71A9-4392-E99D-2DA435C0F2E5}"/>
          </ac:picMkLst>
        </pc:picChg>
        <pc:picChg chg="add del mod">
          <ac:chgData name="Gulati, Samaksh" userId="76cc74e2-ad50-438e-8856-e87917c4a465" providerId="ADAL" clId="{C4B836CF-7FAE-A04C-B398-B0A579F9CD27}" dt="2023-03-31T02:59:09.537" v="396" actId="478"/>
          <ac:picMkLst>
            <pc:docMk/>
            <pc:sldMk cId="75299640" sldId="2141411873"/>
            <ac:picMk id="57" creationId="{CCC0FAB9-13C6-7544-1A64-33F5A63016BC}"/>
          </ac:picMkLst>
        </pc:picChg>
        <pc:picChg chg="add del mod">
          <ac:chgData name="Gulati, Samaksh" userId="76cc74e2-ad50-438e-8856-e87917c4a465" providerId="ADAL" clId="{C4B836CF-7FAE-A04C-B398-B0A579F9CD27}" dt="2023-03-31T02:59:06.011" v="393" actId="478"/>
          <ac:picMkLst>
            <pc:docMk/>
            <pc:sldMk cId="75299640" sldId="2141411873"/>
            <ac:picMk id="58" creationId="{A41483CE-5C11-8B51-DDDB-4C6A963373CD}"/>
          </ac:picMkLst>
        </pc:picChg>
        <pc:cxnChg chg="del">
          <ac:chgData name="Gulati, Samaksh" userId="76cc74e2-ad50-438e-8856-e87917c4a465" providerId="ADAL" clId="{C4B836CF-7FAE-A04C-B398-B0A579F9CD27}" dt="2023-03-31T02:56:18.681" v="277" actId="478"/>
          <ac:cxnSpMkLst>
            <pc:docMk/>
            <pc:sldMk cId="75299640" sldId="2141411873"/>
            <ac:cxnSpMk id="10" creationId="{3ED05009-165E-B7C6-6B42-DAD00C7D0301}"/>
          </ac:cxnSpMkLst>
        </pc:cxnChg>
        <pc:cxnChg chg="mod">
          <ac:chgData name="Gulati, Samaksh" userId="76cc74e2-ad50-438e-8856-e87917c4a465" providerId="ADAL" clId="{C4B836CF-7FAE-A04C-B398-B0A579F9CD27}" dt="2023-03-31T02:56:51.008" v="279"/>
          <ac:cxnSpMkLst>
            <pc:docMk/>
            <pc:sldMk cId="75299640" sldId="2141411873"/>
            <ac:cxnSpMk id="16" creationId="{1F8EB8D1-C9A1-AEE9-9E31-1CA9B0C910E2}"/>
          </ac:cxnSpMkLst>
        </pc:cxnChg>
        <pc:cxnChg chg="mod">
          <ac:chgData name="Gulati, Samaksh" userId="76cc74e2-ad50-438e-8856-e87917c4a465" providerId="ADAL" clId="{C4B836CF-7FAE-A04C-B398-B0A579F9CD27}" dt="2023-03-31T02:56:51.008" v="279"/>
          <ac:cxnSpMkLst>
            <pc:docMk/>
            <pc:sldMk cId="75299640" sldId="2141411873"/>
            <ac:cxnSpMk id="20" creationId="{102208D6-4734-3A65-7EF1-40FC0DF546C4}"/>
          </ac:cxnSpMkLst>
        </pc:cxnChg>
        <pc:cxnChg chg="mod">
          <ac:chgData name="Gulati, Samaksh" userId="76cc74e2-ad50-438e-8856-e87917c4a465" providerId="ADAL" clId="{C4B836CF-7FAE-A04C-B398-B0A579F9CD27}" dt="2023-03-31T02:56:51.008" v="279"/>
          <ac:cxnSpMkLst>
            <pc:docMk/>
            <pc:sldMk cId="75299640" sldId="2141411873"/>
            <ac:cxnSpMk id="26" creationId="{01A3C9C8-BEE8-2306-8B8A-B51D7C76965F}"/>
          </ac:cxnSpMkLst>
        </pc:cxnChg>
        <pc:cxnChg chg="mod">
          <ac:chgData name="Gulati, Samaksh" userId="76cc74e2-ad50-438e-8856-e87917c4a465" providerId="ADAL" clId="{C4B836CF-7FAE-A04C-B398-B0A579F9CD27}" dt="2023-03-31T02:56:51.008" v="279"/>
          <ac:cxnSpMkLst>
            <pc:docMk/>
            <pc:sldMk cId="75299640" sldId="2141411873"/>
            <ac:cxnSpMk id="30" creationId="{23201B8C-09AC-C50A-22F3-DDB8C3C433A2}"/>
          </ac:cxnSpMkLst>
        </pc:cxnChg>
        <pc:cxnChg chg="mod">
          <ac:chgData name="Gulati, Samaksh" userId="76cc74e2-ad50-438e-8856-e87917c4a465" providerId="ADAL" clId="{C4B836CF-7FAE-A04C-B398-B0A579F9CD27}" dt="2023-03-31T02:56:51.008" v="279"/>
          <ac:cxnSpMkLst>
            <pc:docMk/>
            <pc:sldMk cId="75299640" sldId="2141411873"/>
            <ac:cxnSpMk id="36" creationId="{65F7E9FE-10D3-27C2-4963-5C213861495D}"/>
          </ac:cxnSpMkLst>
        </pc:cxnChg>
        <pc:cxnChg chg="mod">
          <ac:chgData name="Gulati, Samaksh" userId="76cc74e2-ad50-438e-8856-e87917c4a465" providerId="ADAL" clId="{C4B836CF-7FAE-A04C-B398-B0A579F9CD27}" dt="2023-03-31T02:56:51.008" v="279"/>
          <ac:cxnSpMkLst>
            <pc:docMk/>
            <pc:sldMk cId="75299640" sldId="2141411873"/>
            <ac:cxnSpMk id="40" creationId="{7621F14C-1771-5A17-4746-BCC41EA9B3AB}"/>
          </ac:cxnSpMkLst>
        </pc:cxnChg>
        <pc:cxnChg chg="mod">
          <ac:chgData name="Gulati, Samaksh" userId="76cc74e2-ad50-438e-8856-e87917c4a465" providerId="ADAL" clId="{C4B836CF-7FAE-A04C-B398-B0A579F9CD27}" dt="2023-03-31T02:56:51.008" v="279"/>
          <ac:cxnSpMkLst>
            <pc:docMk/>
            <pc:sldMk cId="75299640" sldId="2141411873"/>
            <ac:cxnSpMk id="45" creationId="{97299D17-FD5C-18B9-4DB2-A69957A7F3CC}"/>
          </ac:cxnSpMkLst>
        </pc:cxnChg>
        <pc:cxnChg chg="mod">
          <ac:chgData name="Gulati, Samaksh" userId="76cc74e2-ad50-438e-8856-e87917c4a465" providerId="ADAL" clId="{C4B836CF-7FAE-A04C-B398-B0A579F9CD27}" dt="2023-03-31T02:56:51.008" v="279"/>
          <ac:cxnSpMkLst>
            <pc:docMk/>
            <pc:sldMk cId="75299640" sldId="2141411873"/>
            <ac:cxnSpMk id="51" creationId="{32C1F3FE-E567-CD17-2553-22B3353DD52A}"/>
          </ac:cxnSpMkLst>
        </pc:cxnChg>
      </pc:sldChg>
      <pc:sldChg chg="modSp mod">
        <pc:chgData name="Gulati, Samaksh" userId="76cc74e2-ad50-438e-8856-e87917c4a465" providerId="ADAL" clId="{C4B836CF-7FAE-A04C-B398-B0A579F9CD27}" dt="2023-03-31T03:18:49.987" v="1715" actId="20577"/>
        <pc:sldMkLst>
          <pc:docMk/>
          <pc:sldMk cId="3071891337" sldId="2141411874"/>
        </pc:sldMkLst>
        <pc:spChg chg="mod">
          <ac:chgData name="Gulati, Samaksh" userId="76cc74e2-ad50-438e-8856-e87917c4a465" providerId="ADAL" clId="{C4B836CF-7FAE-A04C-B398-B0A579F9CD27}" dt="2023-03-31T03:18:49.987" v="1715" actId="20577"/>
          <ac:spMkLst>
            <pc:docMk/>
            <pc:sldMk cId="3071891337" sldId="2141411874"/>
            <ac:spMk id="10" creationId="{2BE95F10-8E32-B298-B8DF-C71624633BCC}"/>
          </ac:spMkLst>
        </pc:spChg>
      </pc:sldChg>
    </pc:docChg>
  </pc:docChgLst>
  <pc:docChgLst>
    <pc:chgData name="Rakesh Arwini" userId="abfc93cb-0427-4ea8-992c-5410604ef97b" providerId="ADAL" clId="{35734927-4585-4D9A-A2CF-7E5618A73C9C}"/>
    <pc:docChg chg="undo custSel addSld delSld modSld modSection">
      <pc:chgData name="Rakesh Arwini" userId="abfc93cb-0427-4ea8-992c-5410604ef97b" providerId="ADAL" clId="{35734927-4585-4D9A-A2CF-7E5618A73C9C}" dt="2023-03-31T03:27:13.279" v="309" actId="20577"/>
      <pc:docMkLst>
        <pc:docMk/>
      </pc:docMkLst>
      <pc:sldChg chg="del">
        <pc:chgData name="Rakesh Arwini" userId="abfc93cb-0427-4ea8-992c-5410604ef97b" providerId="ADAL" clId="{35734927-4585-4D9A-A2CF-7E5618A73C9C}" dt="2023-03-31T03:01:24.298" v="93" actId="47"/>
        <pc:sldMkLst>
          <pc:docMk/>
          <pc:sldMk cId="1546357749" sldId="364"/>
        </pc:sldMkLst>
      </pc:sldChg>
      <pc:sldChg chg="modSp mod">
        <pc:chgData name="Rakesh Arwini" userId="abfc93cb-0427-4ea8-992c-5410604ef97b" providerId="ADAL" clId="{35734927-4585-4D9A-A2CF-7E5618A73C9C}" dt="2023-03-31T03:27:00.760" v="290" actId="20577"/>
        <pc:sldMkLst>
          <pc:docMk/>
          <pc:sldMk cId="2677383997" sldId="2141411865"/>
        </pc:sldMkLst>
        <pc:spChg chg="mod">
          <ac:chgData name="Rakesh Arwini" userId="abfc93cb-0427-4ea8-992c-5410604ef97b" providerId="ADAL" clId="{35734927-4585-4D9A-A2CF-7E5618A73C9C}" dt="2023-03-31T03:27:00.760" v="290" actId="20577"/>
          <ac:spMkLst>
            <pc:docMk/>
            <pc:sldMk cId="2677383997" sldId="2141411865"/>
            <ac:spMk id="235" creationId="{00000000-0000-0000-0000-000000000000}"/>
          </ac:spMkLst>
        </pc:spChg>
      </pc:sldChg>
      <pc:sldChg chg="modSp mod">
        <pc:chgData name="Rakesh Arwini" userId="abfc93cb-0427-4ea8-992c-5410604ef97b" providerId="ADAL" clId="{35734927-4585-4D9A-A2CF-7E5618A73C9C}" dt="2023-03-31T03:27:13.279" v="309" actId="20577"/>
        <pc:sldMkLst>
          <pc:docMk/>
          <pc:sldMk cId="2274002553" sldId="2141411866"/>
        </pc:sldMkLst>
        <pc:spChg chg="mod">
          <ac:chgData name="Rakesh Arwini" userId="abfc93cb-0427-4ea8-992c-5410604ef97b" providerId="ADAL" clId="{35734927-4585-4D9A-A2CF-7E5618A73C9C}" dt="2023-03-31T03:27:13.279" v="309" actId="20577"/>
          <ac:spMkLst>
            <pc:docMk/>
            <pc:sldMk cId="2274002553" sldId="2141411866"/>
            <ac:spMk id="235" creationId="{00000000-0000-0000-0000-000000000000}"/>
          </ac:spMkLst>
        </pc:spChg>
      </pc:sldChg>
      <pc:sldChg chg="delSp modSp mod">
        <pc:chgData name="Rakesh Arwini" userId="abfc93cb-0427-4ea8-992c-5410604ef97b" providerId="ADAL" clId="{35734927-4585-4D9A-A2CF-7E5618A73C9C}" dt="2023-03-31T02:50:57.665" v="50" actId="27918"/>
        <pc:sldMkLst>
          <pc:docMk/>
          <pc:sldMk cId="2274967187" sldId="2141411868"/>
        </pc:sldMkLst>
        <pc:spChg chg="del mod">
          <ac:chgData name="Rakesh Arwini" userId="abfc93cb-0427-4ea8-992c-5410604ef97b" providerId="ADAL" clId="{35734927-4585-4D9A-A2CF-7E5618A73C9C}" dt="2023-03-31T02:48:34.351" v="43" actId="478"/>
          <ac:spMkLst>
            <pc:docMk/>
            <pc:sldMk cId="2274967187" sldId="2141411868"/>
            <ac:spMk id="9" creationId="{EBC0E95E-0A34-7E94-5E51-E93F89EE6CD4}"/>
          </ac:spMkLst>
        </pc:spChg>
        <pc:graphicFrameChg chg="mod">
          <ac:chgData name="Rakesh Arwini" userId="abfc93cb-0427-4ea8-992c-5410604ef97b" providerId="ADAL" clId="{35734927-4585-4D9A-A2CF-7E5618A73C9C}" dt="2023-03-31T02:49:34.362" v="44"/>
          <ac:graphicFrameMkLst>
            <pc:docMk/>
            <pc:sldMk cId="2274967187" sldId="2141411868"/>
            <ac:graphicFrameMk id="31" creationId="{2514FB6B-66E8-9614-F940-AF0F646AEDDE}"/>
          </ac:graphicFrameMkLst>
        </pc:graphicFrameChg>
      </pc:sldChg>
      <pc:sldChg chg="delSp modSp mod">
        <pc:chgData name="Rakesh Arwini" userId="abfc93cb-0427-4ea8-992c-5410604ef97b" providerId="ADAL" clId="{35734927-4585-4D9A-A2CF-7E5618A73C9C}" dt="2023-03-31T03:00:17.119" v="91" actId="1076"/>
        <pc:sldMkLst>
          <pc:docMk/>
          <pc:sldMk cId="3875709419" sldId="2141411870"/>
        </pc:sldMkLst>
        <pc:spChg chg="mod">
          <ac:chgData name="Rakesh Arwini" userId="abfc93cb-0427-4ea8-992c-5410604ef97b" providerId="ADAL" clId="{35734927-4585-4D9A-A2CF-7E5618A73C9C}" dt="2023-03-31T03:00:16.479" v="90" actId="1076"/>
          <ac:spMkLst>
            <pc:docMk/>
            <pc:sldMk cId="3875709419" sldId="2141411870"/>
            <ac:spMk id="14" creationId="{D9B6154A-714C-8DC7-A322-E426FB217329}"/>
          </ac:spMkLst>
        </pc:spChg>
        <pc:spChg chg="mod">
          <ac:chgData name="Rakesh Arwini" userId="abfc93cb-0427-4ea8-992c-5410604ef97b" providerId="ADAL" clId="{35734927-4585-4D9A-A2CF-7E5618A73C9C}" dt="2023-03-31T03:00:17.119" v="91" actId="1076"/>
          <ac:spMkLst>
            <pc:docMk/>
            <pc:sldMk cId="3875709419" sldId="2141411870"/>
            <ac:spMk id="16" creationId="{239DFD2D-C0FF-BB81-4141-55F1B27DC517}"/>
          </ac:spMkLst>
        </pc:spChg>
        <pc:spChg chg="mod">
          <ac:chgData name="Rakesh Arwini" userId="abfc93cb-0427-4ea8-992c-5410604ef97b" providerId="ADAL" clId="{35734927-4585-4D9A-A2CF-7E5618A73C9C}" dt="2023-03-31T02:59:08.192" v="82" actId="207"/>
          <ac:spMkLst>
            <pc:docMk/>
            <pc:sldMk cId="3875709419" sldId="2141411870"/>
            <ac:spMk id="24" creationId="{473AE47D-ECF5-3F71-7B91-DE562C36474F}"/>
          </ac:spMkLst>
        </pc:spChg>
        <pc:spChg chg="del mod">
          <ac:chgData name="Rakesh Arwini" userId="abfc93cb-0427-4ea8-992c-5410604ef97b" providerId="ADAL" clId="{35734927-4585-4D9A-A2CF-7E5618A73C9C}" dt="2023-03-31T02:58:32.571" v="75"/>
          <ac:spMkLst>
            <pc:docMk/>
            <pc:sldMk cId="3875709419" sldId="2141411870"/>
            <ac:spMk id="40" creationId="{39030B13-5B62-1FBA-D4CE-21539040F809}"/>
          </ac:spMkLst>
        </pc:spChg>
        <pc:spChg chg="del mod">
          <ac:chgData name="Rakesh Arwini" userId="abfc93cb-0427-4ea8-992c-5410604ef97b" providerId="ADAL" clId="{35734927-4585-4D9A-A2CF-7E5618A73C9C}" dt="2023-03-31T02:58:32.571" v="77"/>
          <ac:spMkLst>
            <pc:docMk/>
            <pc:sldMk cId="3875709419" sldId="2141411870"/>
            <ac:spMk id="41" creationId="{C834DFAD-F826-1387-7500-5C9907F3C4A8}"/>
          </ac:spMkLst>
        </pc:spChg>
        <pc:grpChg chg="mod">
          <ac:chgData name="Rakesh Arwini" userId="abfc93cb-0427-4ea8-992c-5410604ef97b" providerId="ADAL" clId="{35734927-4585-4D9A-A2CF-7E5618A73C9C}" dt="2023-03-31T02:59:49.489" v="87" actId="1076"/>
          <ac:grpSpMkLst>
            <pc:docMk/>
            <pc:sldMk cId="3875709419" sldId="2141411870"/>
            <ac:grpSpMk id="13" creationId="{CC1454DB-3561-117A-158B-41D65C901EB6}"/>
          </ac:grpSpMkLst>
        </pc:grpChg>
        <pc:graphicFrameChg chg="mod">
          <ac:chgData name="Rakesh Arwini" userId="abfc93cb-0427-4ea8-992c-5410604ef97b" providerId="ADAL" clId="{35734927-4585-4D9A-A2CF-7E5618A73C9C}" dt="2023-03-31T02:51:30.100" v="52"/>
          <ac:graphicFrameMkLst>
            <pc:docMk/>
            <pc:sldMk cId="3875709419" sldId="2141411870"/>
            <ac:graphicFrameMk id="255" creationId="{43012138-E161-4815-A10A-57497B36CA6F}"/>
          </ac:graphicFrameMkLst>
        </pc:graphicFrameChg>
        <pc:graphicFrameChg chg="mod">
          <ac:chgData name="Rakesh Arwini" userId="abfc93cb-0427-4ea8-992c-5410604ef97b" providerId="ADAL" clId="{35734927-4585-4D9A-A2CF-7E5618A73C9C}" dt="2023-03-31T02:41:16.858" v="15" actId="14100"/>
          <ac:graphicFrameMkLst>
            <pc:docMk/>
            <pc:sldMk cId="3875709419" sldId="2141411870"/>
            <ac:graphicFrameMk id="260" creationId="{410AE525-271B-40BE-A1D1-2B07F398876A}"/>
          </ac:graphicFrameMkLst>
        </pc:graphicFrameChg>
        <pc:cxnChg chg="mod">
          <ac:chgData name="Rakesh Arwini" userId="abfc93cb-0427-4ea8-992c-5410604ef97b" providerId="ADAL" clId="{35734927-4585-4D9A-A2CF-7E5618A73C9C}" dt="2023-03-31T02:59:36.079" v="85" actId="1076"/>
          <ac:cxnSpMkLst>
            <pc:docMk/>
            <pc:sldMk cId="3875709419" sldId="2141411870"/>
            <ac:cxnSpMk id="15" creationId="{9C6DE27E-2138-AAC2-499A-6B8ED6D9F759}"/>
          </ac:cxnSpMkLst>
        </pc:cxnChg>
      </pc:sldChg>
      <pc:sldChg chg="del">
        <pc:chgData name="Rakesh Arwini" userId="abfc93cb-0427-4ea8-992c-5410604ef97b" providerId="ADAL" clId="{35734927-4585-4D9A-A2CF-7E5618A73C9C}" dt="2023-03-31T03:01:01.186" v="92" actId="47"/>
        <pc:sldMkLst>
          <pc:docMk/>
          <pc:sldMk cId="1124443298" sldId="2141411872"/>
        </pc:sldMkLst>
      </pc:sldChg>
      <pc:sldChg chg="modSp add mod">
        <pc:chgData name="Rakesh Arwini" userId="abfc93cb-0427-4ea8-992c-5410604ef97b" providerId="ADAL" clId="{35734927-4585-4D9A-A2CF-7E5618A73C9C}" dt="2023-03-31T03:13:28.003" v="249" actId="20577"/>
        <pc:sldMkLst>
          <pc:docMk/>
          <pc:sldMk cId="3071891337" sldId="2141411874"/>
        </pc:sldMkLst>
        <pc:spChg chg="mod">
          <ac:chgData name="Rakesh Arwini" userId="abfc93cb-0427-4ea8-992c-5410604ef97b" providerId="ADAL" clId="{35734927-4585-4D9A-A2CF-7E5618A73C9C}" dt="2023-03-31T03:13:28.003" v="249" actId="20577"/>
          <ac:spMkLst>
            <pc:docMk/>
            <pc:sldMk cId="3071891337" sldId="2141411874"/>
            <ac:spMk id="10" creationId="{2BE95F10-8E32-B298-B8DF-C71624633BCC}"/>
          </ac:spMkLst>
        </pc:spChg>
        <pc:spChg chg="mod">
          <ac:chgData name="Rakesh Arwini" userId="abfc93cb-0427-4ea8-992c-5410604ef97b" providerId="ADAL" clId="{35734927-4585-4D9A-A2CF-7E5618A73C9C}" dt="2023-03-31T03:06:52.476" v="120" actId="20577"/>
          <ac:spMkLst>
            <pc:docMk/>
            <pc:sldMk cId="3071891337" sldId="2141411874"/>
            <ac:spMk id="235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pPr>
            <a:r>
              <a:rPr lang="en-US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cent of Internet Users on WhatsApp</a:t>
            </a:r>
          </a:p>
        </c:rich>
      </c:tx>
      <c:layout>
        <c:manualLayout>
          <c:xMode val="edge"/>
          <c:yMode val="edge"/>
          <c:x val="0.20690085648585602"/>
          <c:y val="5.6302811593945895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rcent of Internet Users on WhatsAp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4"/>
                <c:pt idx="0">
                  <c:v>Nigeria</c:v>
                </c:pt>
                <c:pt idx="1">
                  <c:v>Kenya</c:v>
                </c:pt>
                <c:pt idx="2">
                  <c:v>Ghana</c:v>
                </c:pt>
                <c:pt idx="3">
                  <c:v>Zambia</c:v>
                </c:pt>
              </c:strCache>
              <c:extLst/>
            </c:strRef>
          </c:cat>
          <c:val>
            <c:numRef>
              <c:f>Sheet1!$B$2:$B$8</c:f>
              <c:numCache>
                <c:formatCode>General</c:formatCode>
                <c:ptCount val="4"/>
                <c:pt idx="0">
                  <c:v>95</c:v>
                </c:pt>
                <c:pt idx="1">
                  <c:v>97</c:v>
                </c:pt>
                <c:pt idx="2">
                  <c:v>90</c:v>
                </c:pt>
                <c:pt idx="3">
                  <c:v>6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994B-44BA-90A6-F7A9173356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95315664"/>
        <c:axId val="1083414464"/>
      </c:barChart>
      <c:catAx>
        <c:axId val="995315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/>
          </a:p>
        </c:txPr>
        <c:crossAx val="1083414464"/>
        <c:crosses val="autoZero"/>
        <c:auto val="1"/>
        <c:lblAlgn val="ctr"/>
        <c:lblOffset val="100"/>
        <c:noMultiLvlLbl val="0"/>
      </c:catAx>
      <c:valAx>
        <c:axId val="1083414464"/>
        <c:scaling>
          <c:orientation val="minMax"/>
          <c:max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/>
          </a:p>
        </c:txPr>
        <c:crossAx val="995315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3" name="Google Shape;183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ga9469d1f40_0_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3" name="Google Shape;233;ga9469d1f40_0_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0192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ga9469d1f40_0_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3" name="Google Shape;233;ga9469d1f40_0_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89311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ga9469d1f40_0_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3" name="Google Shape;233;ga9469d1f40_0_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637093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ga9469d1f40_0_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3" name="Google Shape;233;ga9469d1f40_0_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0138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ga9469d1f40_0_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3" name="Google Shape;233;ga9469d1f40_0_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265873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CC7609-264B-4352-BFFA-EE20EB870A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356053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CC7609-264B-4352-BFFA-EE20EB870A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10164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643858" y="1172225"/>
            <a:ext cx="67707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5200"/>
              <a:buNone/>
              <a:defRPr sz="53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1643852" y="3261775"/>
            <a:ext cx="6770700" cy="557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600">
                <a:solidFill>
                  <a:schemeClr val="accent2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0" y="-36094"/>
            <a:ext cx="1216200" cy="2571600"/>
          </a:xfrm>
          <a:prstGeom prst="rect">
            <a:avLst/>
          </a:prstGeom>
          <a:solidFill>
            <a:srgbClr val="143F9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2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7"/>
          <p:cNvSpPr txBox="1">
            <a:spLocks noGrp="1"/>
          </p:cNvSpPr>
          <p:nvPr>
            <p:ph type="title"/>
          </p:nvPr>
        </p:nvSpPr>
        <p:spPr>
          <a:xfrm>
            <a:off x="717800" y="383175"/>
            <a:ext cx="77082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Font typeface="Montserrat"/>
              <a:buNone/>
              <a:defRPr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 dirty="0"/>
          </a:p>
        </p:txBody>
      </p:sp>
      <p:sp>
        <p:nvSpPr>
          <p:cNvPr id="94" name="Google Shape;94;p17"/>
          <p:cNvSpPr txBox="1">
            <a:spLocks noGrp="1"/>
          </p:cNvSpPr>
          <p:nvPr>
            <p:ph type="subTitle" idx="1"/>
          </p:nvPr>
        </p:nvSpPr>
        <p:spPr>
          <a:xfrm>
            <a:off x="788100" y="2390400"/>
            <a:ext cx="2261700" cy="40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  <a:lvl2pPr lvl="1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2pPr>
            <a:lvl3pPr lvl="2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3pPr>
            <a:lvl4pPr lvl="3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4pPr>
            <a:lvl5pPr lvl="4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5pPr>
            <a:lvl6pPr lvl="5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6pPr>
            <a:lvl7pPr lvl="6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7pPr>
            <a:lvl8pPr lvl="7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8pPr>
            <a:lvl9pPr lvl="8" algn="ctr" rtl="0">
              <a:spcBef>
                <a:spcPts val="1600"/>
              </a:spcBef>
              <a:spcAft>
                <a:spcPts val="1600"/>
              </a:spcAft>
              <a:buNone/>
              <a:defRPr b="1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95" name="Google Shape;95;p17"/>
          <p:cNvSpPr txBox="1">
            <a:spLocks noGrp="1"/>
          </p:cNvSpPr>
          <p:nvPr>
            <p:ph type="subTitle" idx="2"/>
          </p:nvPr>
        </p:nvSpPr>
        <p:spPr>
          <a:xfrm>
            <a:off x="788100" y="2765850"/>
            <a:ext cx="2261700" cy="723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sz="14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6" name="Google Shape;96;p17"/>
          <p:cNvSpPr txBox="1">
            <a:spLocks noGrp="1"/>
          </p:cNvSpPr>
          <p:nvPr>
            <p:ph type="subTitle" idx="3"/>
          </p:nvPr>
        </p:nvSpPr>
        <p:spPr>
          <a:xfrm>
            <a:off x="3441150" y="2390400"/>
            <a:ext cx="2261700" cy="40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  <a:lvl2pPr lvl="1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2pPr>
            <a:lvl3pPr lvl="2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3pPr>
            <a:lvl4pPr lvl="3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4pPr>
            <a:lvl5pPr lvl="4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5pPr>
            <a:lvl6pPr lvl="5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6pPr>
            <a:lvl7pPr lvl="6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7pPr>
            <a:lvl8pPr lvl="7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8pPr>
            <a:lvl9pPr lvl="8" algn="ctr" rtl="0">
              <a:spcBef>
                <a:spcPts val="1600"/>
              </a:spcBef>
              <a:spcAft>
                <a:spcPts val="1600"/>
              </a:spcAft>
              <a:buNone/>
              <a:defRPr b="1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97" name="Google Shape;97;p17"/>
          <p:cNvSpPr txBox="1">
            <a:spLocks noGrp="1"/>
          </p:cNvSpPr>
          <p:nvPr>
            <p:ph type="subTitle" idx="4"/>
          </p:nvPr>
        </p:nvSpPr>
        <p:spPr>
          <a:xfrm>
            <a:off x="3441150" y="2765850"/>
            <a:ext cx="2261700" cy="723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sz="14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8" name="Google Shape;98;p17"/>
          <p:cNvSpPr txBox="1">
            <a:spLocks noGrp="1"/>
          </p:cNvSpPr>
          <p:nvPr>
            <p:ph type="subTitle" idx="5"/>
          </p:nvPr>
        </p:nvSpPr>
        <p:spPr>
          <a:xfrm>
            <a:off x="6094200" y="2390400"/>
            <a:ext cx="2261700" cy="40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  <a:lvl2pPr lvl="1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2pPr>
            <a:lvl3pPr lvl="2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3pPr>
            <a:lvl4pPr lvl="3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4pPr>
            <a:lvl5pPr lvl="4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5pPr>
            <a:lvl6pPr lvl="5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6pPr>
            <a:lvl7pPr lvl="6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7pPr>
            <a:lvl8pPr lvl="7" algn="ctr" rtl="0">
              <a:spcBef>
                <a:spcPts val="16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8pPr>
            <a:lvl9pPr lvl="8" algn="ctr" rtl="0">
              <a:spcBef>
                <a:spcPts val="1600"/>
              </a:spcBef>
              <a:spcAft>
                <a:spcPts val="1600"/>
              </a:spcAft>
              <a:buNone/>
              <a:defRPr b="1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99" name="Google Shape;99;p17"/>
          <p:cNvSpPr txBox="1">
            <a:spLocks noGrp="1"/>
          </p:cNvSpPr>
          <p:nvPr>
            <p:ph type="subTitle" idx="6"/>
          </p:nvPr>
        </p:nvSpPr>
        <p:spPr>
          <a:xfrm>
            <a:off x="6094200" y="2765850"/>
            <a:ext cx="2261700" cy="723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sz="14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00" name="Google Shape;100;p17"/>
          <p:cNvSpPr/>
          <p:nvPr/>
        </p:nvSpPr>
        <p:spPr>
          <a:xfrm flipH="1">
            <a:off x="4572000" y="4834271"/>
            <a:ext cx="4572000" cy="309300"/>
          </a:xfrm>
          <a:prstGeom prst="rect">
            <a:avLst/>
          </a:prstGeom>
          <a:solidFill>
            <a:srgbClr val="143F9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17"/>
          <p:cNvSpPr/>
          <p:nvPr/>
        </p:nvSpPr>
        <p:spPr>
          <a:xfrm flipH="1">
            <a:off x="50" y="4834274"/>
            <a:ext cx="4572000" cy="309300"/>
          </a:xfrm>
          <a:prstGeom prst="rect">
            <a:avLst/>
          </a:prstGeom>
          <a:solidFill>
            <a:srgbClr val="1A75B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AFC2E7F-65AB-4136-AA90-558423FF8D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539249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AFC2E7F-65AB-4136-AA90-558423FF8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962" y="125362"/>
            <a:ext cx="8436077" cy="752168"/>
          </a:xfrm>
        </p:spPr>
        <p:txBody>
          <a:bodyPr vert="horz" lIns="0" rIns="0" anchor="b">
            <a:noAutofit/>
          </a:bodyPr>
          <a:lstStyle>
            <a:lvl1pPr>
              <a:defRPr sz="2400">
                <a:solidFill>
                  <a:srgbClr val="00848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3962" y="1113503"/>
            <a:ext cx="8436077" cy="351921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3962" y="4767263"/>
            <a:ext cx="5761088" cy="273844"/>
          </a:xfrm>
        </p:spPr>
        <p:txBody>
          <a:bodyPr lIns="0"/>
          <a:lstStyle>
            <a:lvl1pPr algn="l">
              <a:defRPr sz="75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0583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Montserrat"/>
              <a:buNone/>
              <a:defRPr sz="2800" b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Montserrat"/>
              <a:buChar char="●"/>
              <a:defRPr sz="18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○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lvl="2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■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lvl="3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●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lvl="4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○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743200" lvl="5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■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3200400" lvl="6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●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657600" lvl="7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Char char="○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4114800" lvl="8" indent="-3175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Montserrat"/>
              <a:buChar char="■"/>
              <a:defRPr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8" r:id="rId2"/>
    <p:sldLayoutId id="2147483663" r:id="rId3"/>
    <p:sldLayoutId id="2147483677" r:id="rId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png"/><Relationship Id="rId7" Type="http://schemas.openxmlformats.org/officeDocument/2006/relationships/image" Target="../media/image9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1.xml"/><Relationship Id="rId5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7.svg"/><Relationship Id="rId9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30"/>
          <p:cNvSpPr txBox="1">
            <a:spLocks noGrp="1"/>
          </p:cNvSpPr>
          <p:nvPr>
            <p:ph type="ctrTitle"/>
          </p:nvPr>
        </p:nvSpPr>
        <p:spPr>
          <a:xfrm>
            <a:off x="1281448" y="1172225"/>
            <a:ext cx="713311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dirty="0">
                <a:solidFill>
                  <a:srgbClr val="143F90"/>
                </a:solidFill>
                <a:latin typeface="Montserrat" panose="00000500000000000000" pitchFamily="2" charset="0"/>
                <a:ea typeface="Calibri Bold" panose="020F0702030404030204" pitchFamily="34" charset="0"/>
                <a:cs typeface="Calibri Bold" panose="020F0702030404030204" pitchFamily="34" charset="0"/>
              </a:rPr>
              <a:t>Women’s World Banking: </a:t>
            </a:r>
            <a:br>
              <a:rPr lang="en" sz="5600" dirty="0">
                <a:solidFill>
                  <a:srgbClr val="2D8183"/>
                </a:solidFill>
                <a:latin typeface="Montserrat" panose="00000500000000000000" pitchFamily="2" charset="0"/>
                <a:ea typeface="Calibri Bold" panose="020F0702030404030204" pitchFamily="34" charset="0"/>
                <a:cs typeface="Calibri Bold" panose="020F0702030404030204" pitchFamily="34" charset="0"/>
              </a:rPr>
            </a:br>
            <a:r>
              <a:rPr lang="en" sz="3000" dirty="0">
                <a:solidFill>
                  <a:srgbClr val="1A75BC"/>
                </a:solidFill>
                <a:latin typeface="Montserrat" panose="00000500000000000000" pitchFamily="2" charset="0"/>
                <a:ea typeface="Calibri Bold" panose="020F0702030404030204" pitchFamily="34" charset="0"/>
                <a:cs typeface="Calibri Bold" panose="020F0702030404030204" pitchFamily="34" charset="0"/>
              </a:rPr>
              <a:t>Improving the Digital Experience</a:t>
            </a:r>
            <a:endParaRPr sz="3000" dirty="0">
              <a:solidFill>
                <a:srgbClr val="1A75BC"/>
              </a:solidFill>
              <a:latin typeface="Montserrat" panose="00000500000000000000" pitchFamily="2" charset="0"/>
              <a:ea typeface="Calibri Bold" panose="020F0702030404030204" pitchFamily="34" charset="0"/>
              <a:cs typeface="Calibri Bold" panose="020F0702030404030204" pitchFamily="34" charset="0"/>
            </a:endParaRPr>
          </a:p>
        </p:txBody>
      </p:sp>
      <p:sp>
        <p:nvSpPr>
          <p:cNvPr id="186" name="Google Shape;186;p30"/>
          <p:cNvSpPr txBox="1">
            <a:spLocks noGrp="1"/>
          </p:cNvSpPr>
          <p:nvPr>
            <p:ph type="subTitle" idx="1"/>
          </p:nvPr>
        </p:nvSpPr>
        <p:spPr>
          <a:xfrm>
            <a:off x="670999" y="3261775"/>
            <a:ext cx="7743553" cy="557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Calibri"/>
                <a:ea typeface="Calibri" panose="020F0502020204030204" pitchFamily="34" charset="0"/>
                <a:cs typeface="Calibri"/>
              </a:rPr>
              <a:t>July 16, 2023</a:t>
            </a:r>
          </a:p>
          <a:p>
            <a:pPr marL="0" indent="0"/>
            <a:r>
              <a:rPr lang="en-US" dirty="0">
                <a:latin typeface="Calibri"/>
                <a:ea typeface="Calibri" panose="020F0502020204030204" pitchFamily="34" charset="0"/>
                <a:cs typeface="Calibri"/>
              </a:rPr>
              <a:t>Cassidy Gasteiger  |   Nancy Guan   |   Anushka Jain  |   Shreya Oak</a:t>
            </a: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 descr="A blue and grey logo&#10;&#10;Description automatically generated">
            <a:extLst>
              <a:ext uri="{FF2B5EF4-FFF2-40B4-BE49-F238E27FC236}">
                <a16:creationId xmlns:a16="http://schemas.microsoft.com/office/drawing/2014/main" id="{BF7531A2-266F-34BD-97C7-CBEAB697B7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487" y="4359499"/>
            <a:ext cx="2059558" cy="62618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26D74EC-DF7B-472F-8A3B-BEFA036A78D7}"/>
              </a:ext>
            </a:extLst>
          </p:cNvPr>
          <p:cNvSpPr/>
          <p:nvPr/>
        </p:nvSpPr>
        <p:spPr>
          <a:xfrm>
            <a:off x="0" y="0"/>
            <a:ext cx="1206500" cy="2571750"/>
          </a:xfrm>
          <a:prstGeom prst="rect">
            <a:avLst/>
          </a:prstGeom>
          <a:solidFill>
            <a:srgbClr val="143F90"/>
          </a:solidFill>
          <a:ln>
            <a:solidFill>
              <a:srgbClr val="143F9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Google Shape;235;p36">
            <a:extLst>
              <a:ext uri="{FF2B5EF4-FFF2-40B4-BE49-F238E27FC236}">
                <a16:creationId xmlns:a16="http://schemas.microsoft.com/office/drawing/2014/main" id="{03FE87BA-257D-BFFB-B428-DEAE5B5DCFF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17900" y="270531"/>
            <a:ext cx="77082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143F90"/>
                </a:solidFill>
                <a:latin typeface="Montserrat" panose="00000500000000000000" pitchFamily="2" charset="0"/>
              </a:rPr>
              <a:t>Videoconferencing Tool Demo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A360B21-5568-DBA1-DA15-1A6A005F908A}"/>
              </a:ext>
            </a:extLst>
          </p:cNvPr>
          <p:cNvGrpSpPr/>
          <p:nvPr/>
        </p:nvGrpSpPr>
        <p:grpSpPr>
          <a:xfrm>
            <a:off x="0" y="4860031"/>
            <a:ext cx="9144000" cy="314056"/>
            <a:chOff x="0" y="4860031"/>
            <a:chExt cx="9144000" cy="314056"/>
          </a:xfrm>
        </p:grpSpPr>
        <p:sp>
          <p:nvSpPr>
            <p:cNvPr id="50" name="Google Shape;100;p17">
              <a:extLst>
                <a:ext uri="{FF2B5EF4-FFF2-40B4-BE49-F238E27FC236}">
                  <a16:creationId xmlns:a16="http://schemas.microsoft.com/office/drawing/2014/main" id="{9F024DEB-600A-7791-30D2-AD8DEA4EEB56}"/>
                </a:ext>
              </a:extLst>
            </p:cNvPr>
            <p:cNvSpPr/>
            <p:nvPr/>
          </p:nvSpPr>
          <p:spPr>
            <a:xfrm flipH="1">
              <a:off x="4572000" y="4860031"/>
              <a:ext cx="4572000" cy="309300"/>
            </a:xfrm>
            <a:prstGeom prst="rect">
              <a:avLst/>
            </a:prstGeom>
            <a:solidFill>
              <a:srgbClr val="143F9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01;p17">
              <a:extLst>
                <a:ext uri="{FF2B5EF4-FFF2-40B4-BE49-F238E27FC236}">
                  <a16:creationId xmlns:a16="http://schemas.microsoft.com/office/drawing/2014/main" id="{35884E62-5751-4301-B6DD-35DEE94839B8}"/>
                </a:ext>
              </a:extLst>
            </p:cNvPr>
            <p:cNvSpPr/>
            <p:nvPr/>
          </p:nvSpPr>
          <p:spPr>
            <a:xfrm flipH="1">
              <a:off x="0" y="4864787"/>
              <a:ext cx="4572000" cy="309300"/>
            </a:xfrm>
            <a:prstGeom prst="rect">
              <a:avLst/>
            </a:prstGeom>
            <a:solidFill>
              <a:srgbClr val="1A75B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856B9C52-9161-0755-BF0A-5AA8A1368CB7}"/>
              </a:ext>
            </a:extLst>
          </p:cNvPr>
          <p:cNvGrpSpPr/>
          <p:nvPr/>
        </p:nvGrpSpPr>
        <p:grpSpPr>
          <a:xfrm>
            <a:off x="6966583" y="0"/>
            <a:ext cx="1905001" cy="282677"/>
            <a:chOff x="471947" y="0"/>
            <a:chExt cx="1905001" cy="28267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619983E-B0AA-92E8-7806-8BA8ABA7BD3D}"/>
                </a:ext>
              </a:extLst>
            </p:cNvPr>
            <p:cNvSpPr/>
            <p:nvPr/>
          </p:nvSpPr>
          <p:spPr>
            <a:xfrm>
              <a:off x="471947" y="40480"/>
              <a:ext cx="1904991" cy="242197"/>
            </a:xfrm>
            <a:prstGeom prst="rect">
              <a:avLst/>
            </a:prstGeom>
            <a:solidFill>
              <a:srgbClr val="E05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DEMO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412DACB-5C10-0E1A-66A6-57E3BE934496}"/>
                </a:ext>
              </a:extLst>
            </p:cNvPr>
            <p:cNvSpPr/>
            <p:nvPr/>
          </p:nvSpPr>
          <p:spPr>
            <a:xfrm>
              <a:off x="471948" y="0"/>
              <a:ext cx="1905000" cy="45719"/>
            </a:xfrm>
            <a:prstGeom prst="rect">
              <a:avLst/>
            </a:prstGeom>
            <a:solidFill>
              <a:srgbClr val="F2B8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224105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908653D-55C2-507B-097C-522DEAA39C99}"/>
              </a:ext>
            </a:extLst>
          </p:cNvPr>
          <p:cNvSpPr/>
          <p:nvPr/>
        </p:nvSpPr>
        <p:spPr>
          <a:xfrm>
            <a:off x="0" y="0"/>
            <a:ext cx="2362200" cy="5143500"/>
          </a:xfrm>
          <a:prstGeom prst="rect">
            <a:avLst/>
          </a:prstGeom>
          <a:solidFill>
            <a:srgbClr val="143F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43F90"/>
              </a:solidFill>
            </a:endParaRPr>
          </a:p>
        </p:txBody>
      </p:sp>
      <p:sp>
        <p:nvSpPr>
          <p:cNvPr id="9" name="Google Shape;235;p36">
            <a:extLst>
              <a:ext uri="{FF2B5EF4-FFF2-40B4-BE49-F238E27FC236}">
                <a16:creationId xmlns:a16="http://schemas.microsoft.com/office/drawing/2014/main" id="{06A5DB46-1BFD-FA07-31EC-31870F8AE98D}"/>
              </a:ext>
            </a:extLst>
          </p:cNvPr>
          <p:cNvSpPr txBox="1">
            <a:spLocks/>
          </p:cNvSpPr>
          <p:nvPr/>
        </p:nvSpPr>
        <p:spPr>
          <a:xfrm>
            <a:off x="247650" y="364125"/>
            <a:ext cx="203835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2400" b="1" dirty="0">
                <a:solidFill>
                  <a:schemeClr val="bg1"/>
                </a:solidFill>
                <a:latin typeface="Montserrat" panose="00000500000000000000" pitchFamily="2" charset="0"/>
              </a:rPr>
              <a:t>Outlin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9980911-3E67-8701-4E55-CD8978F98F6A}"/>
              </a:ext>
            </a:extLst>
          </p:cNvPr>
          <p:cNvSpPr/>
          <p:nvPr/>
        </p:nvSpPr>
        <p:spPr>
          <a:xfrm>
            <a:off x="2286000" y="1374612"/>
            <a:ext cx="533400" cy="428625"/>
          </a:xfrm>
          <a:prstGeom prst="round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6CCF4B7-1FBB-EAF3-ADC7-050B5CCC7F7A}"/>
              </a:ext>
            </a:extLst>
          </p:cNvPr>
          <p:cNvSpPr txBox="1"/>
          <p:nvPr/>
        </p:nvSpPr>
        <p:spPr>
          <a:xfrm>
            <a:off x="2952749" y="1419647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roduction and Background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1AE94B59-9087-3A30-3ED4-D89E737D2B60}"/>
              </a:ext>
            </a:extLst>
          </p:cNvPr>
          <p:cNvSpPr/>
          <p:nvPr/>
        </p:nvSpPr>
        <p:spPr>
          <a:xfrm>
            <a:off x="2286000" y="2034426"/>
            <a:ext cx="533400" cy="428625"/>
          </a:xfrm>
          <a:prstGeom prst="round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9AF8C1E-C8DE-5A65-D0AC-D474A921EA1F}"/>
              </a:ext>
            </a:extLst>
          </p:cNvPr>
          <p:cNvSpPr txBox="1"/>
          <p:nvPr/>
        </p:nvSpPr>
        <p:spPr>
          <a:xfrm>
            <a:off x="2952749" y="2058654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ution Overview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E3D9B4D-EF3A-89E3-35C8-548C7C288FF7}"/>
              </a:ext>
            </a:extLst>
          </p:cNvPr>
          <p:cNvSpPr/>
          <p:nvPr/>
        </p:nvSpPr>
        <p:spPr>
          <a:xfrm>
            <a:off x="2286000" y="2694240"/>
            <a:ext cx="533400" cy="428625"/>
          </a:xfrm>
          <a:prstGeom prst="round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C5DA3C-9EBB-5B5B-CC2D-58F1CFB12BBB}"/>
              </a:ext>
            </a:extLst>
          </p:cNvPr>
          <p:cNvSpPr txBox="1"/>
          <p:nvPr/>
        </p:nvSpPr>
        <p:spPr>
          <a:xfrm>
            <a:off x="2952749" y="2779132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mo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615E72A-AF87-57B2-D90A-AF13671EEF9E}"/>
              </a:ext>
            </a:extLst>
          </p:cNvPr>
          <p:cNvSpPr/>
          <p:nvPr/>
        </p:nvSpPr>
        <p:spPr>
          <a:xfrm>
            <a:off x="2286000" y="3354054"/>
            <a:ext cx="533400" cy="428625"/>
          </a:xfrm>
          <a:prstGeom prst="roundRect">
            <a:avLst/>
          </a:prstGeom>
          <a:solidFill>
            <a:srgbClr val="E05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9BAC1AB-EB28-1CB4-BF7F-CD04671B2342}"/>
              </a:ext>
            </a:extLst>
          </p:cNvPr>
          <p:cNvSpPr txBox="1"/>
          <p:nvPr/>
        </p:nvSpPr>
        <p:spPr>
          <a:xfrm>
            <a:off x="2952749" y="3419018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duct Roadmap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B640B9C-CF5D-CC53-E126-FAB84A48F81D}"/>
              </a:ext>
            </a:extLst>
          </p:cNvPr>
          <p:cNvSpPr/>
          <p:nvPr/>
        </p:nvSpPr>
        <p:spPr>
          <a:xfrm>
            <a:off x="8972550" y="0"/>
            <a:ext cx="171450" cy="5143500"/>
          </a:xfrm>
          <a:prstGeom prst="rect">
            <a:avLst/>
          </a:prstGeom>
          <a:solidFill>
            <a:srgbClr val="1A75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185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240"/>
    </mc:Choice>
    <mc:Fallback xmlns="">
      <p:transition spd="slow" advTm="1624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Google Shape;235;p36">
            <a:extLst>
              <a:ext uri="{FF2B5EF4-FFF2-40B4-BE49-F238E27FC236}">
                <a16:creationId xmlns:a16="http://schemas.microsoft.com/office/drawing/2014/main" id="{03FE87BA-257D-BFFB-B428-DEAE5B5DCFF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17900" y="270531"/>
            <a:ext cx="77082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143F90"/>
                </a:solidFill>
                <a:latin typeface="Montserrat" panose="00000500000000000000" pitchFamily="2" charset="0"/>
              </a:rPr>
              <a:t>Communications Project Roadmap</a:t>
            </a:r>
          </a:p>
        </p:txBody>
      </p:sp>
      <p:sp>
        <p:nvSpPr>
          <p:cNvPr id="137" name="TextBox 40">
            <a:extLst>
              <a:ext uri="{FF2B5EF4-FFF2-40B4-BE49-F238E27FC236}">
                <a16:creationId xmlns:a16="http://schemas.microsoft.com/office/drawing/2014/main" id="{171C38C8-FE34-4577-B837-34C2FBB5325F}"/>
              </a:ext>
            </a:extLst>
          </p:cNvPr>
          <p:cNvSpPr txBox="1"/>
          <p:nvPr/>
        </p:nvSpPr>
        <p:spPr>
          <a:xfrm>
            <a:off x="353616" y="4355510"/>
            <a:ext cx="8272224" cy="148498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</p:spPr>
        <p:txBody>
          <a:bodyPr wrap="square" anchor="ctr" anchorCtr="0">
            <a:noAutofit/>
          </a:bodyPr>
          <a:lstStyle/>
          <a:p>
            <a:pPr defTabSz="342900">
              <a:buClrTx/>
              <a:defRPr/>
            </a:pPr>
            <a:endParaRPr lang="en-US" sz="825" kern="12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18" name="Straight Connector 17"/>
          <p:cNvCxnSpPr>
            <a:cxnSpLocks/>
            <a:stCxn id="137" idx="1"/>
            <a:endCxn id="137" idx="3"/>
          </p:cNvCxnSpPr>
          <p:nvPr/>
        </p:nvCxnSpPr>
        <p:spPr>
          <a:xfrm>
            <a:off x="353616" y="4429759"/>
            <a:ext cx="8272224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BFC10606-DB72-40D2-83A8-9FD9AF12F144}"/>
              </a:ext>
            </a:extLst>
          </p:cNvPr>
          <p:cNvSpPr/>
          <p:nvPr/>
        </p:nvSpPr>
        <p:spPr>
          <a:xfrm>
            <a:off x="3019573" y="4279640"/>
            <a:ext cx="165932" cy="325417"/>
          </a:xfrm>
          <a:prstGeom prst="chevron">
            <a:avLst/>
          </a:prstGeom>
          <a:solidFill>
            <a:srgbClr val="003B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>
              <a:buClrTx/>
              <a:defRPr/>
            </a:pPr>
            <a:endParaRPr lang="en-US" sz="1350" kern="12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15" name="Arrow: Chevron 314">
            <a:extLst>
              <a:ext uri="{FF2B5EF4-FFF2-40B4-BE49-F238E27FC236}">
                <a16:creationId xmlns:a16="http://schemas.microsoft.com/office/drawing/2014/main" id="{1418A9D6-FADA-4747-97DD-A5558ECCB74E}"/>
              </a:ext>
            </a:extLst>
          </p:cNvPr>
          <p:cNvSpPr/>
          <p:nvPr/>
        </p:nvSpPr>
        <p:spPr>
          <a:xfrm>
            <a:off x="5913661" y="4270435"/>
            <a:ext cx="165932" cy="325417"/>
          </a:xfrm>
          <a:prstGeom prst="chevron">
            <a:avLst/>
          </a:prstGeom>
          <a:solidFill>
            <a:srgbClr val="003B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>
              <a:buClrTx/>
              <a:defRPr/>
            </a:pPr>
            <a:endParaRPr lang="en-US" sz="1350" kern="12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D5CF962-140D-4A59-8D11-83E8F2C5CC55}"/>
              </a:ext>
            </a:extLst>
          </p:cNvPr>
          <p:cNvGrpSpPr/>
          <p:nvPr/>
        </p:nvGrpSpPr>
        <p:grpSpPr>
          <a:xfrm>
            <a:off x="7188791" y="4274145"/>
            <a:ext cx="414300" cy="413581"/>
            <a:chOff x="7337556" y="4055809"/>
            <a:chExt cx="552400" cy="551441"/>
          </a:xfrm>
        </p:grpSpPr>
        <p:grpSp>
          <p:nvGrpSpPr>
            <p:cNvPr id="229" name="Group 228">
              <a:extLst>
                <a:ext uri="{FF2B5EF4-FFF2-40B4-BE49-F238E27FC236}">
                  <a16:creationId xmlns:a16="http://schemas.microsoft.com/office/drawing/2014/main" id="{4AF0FF4D-69EC-4937-822D-ED005543D8DD}"/>
                </a:ext>
              </a:extLst>
            </p:cNvPr>
            <p:cNvGrpSpPr/>
            <p:nvPr/>
          </p:nvGrpSpPr>
          <p:grpSpPr>
            <a:xfrm>
              <a:off x="7337556" y="4055809"/>
              <a:ext cx="551442" cy="551441"/>
              <a:chOff x="548840" y="2321381"/>
              <a:chExt cx="886279" cy="886275"/>
            </a:xfrm>
            <a:solidFill>
              <a:schemeClr val="accent2"/>
            </a:solidFill>
          </p:grpSpPr>
          <p:sp>
            <p:nvSpPr>
              <p:cNvPr id="230" name="Oval 229">
                <a:extLst>
                  <a:ext uri="{FF2B5EF4-FFF2-40B4-BE49-F238E27FC236}">
                    <a16:creationId xmlns:a16="http://schemas.microsoft.com/office/drawing/2014/main" id="{35D35F89-9FA5-4686-B178-31FCCF43F989}"/>
                  </a:ext>
                </a:extLst>
              </p:cNvPr>
              <p:cNvSpPr/>
              <p:nvPr/>
            </p:nvSpPr>
            <p:spPr>
              <a:xfrm flipH="1">
                <a:off x="548840" y="2321381"/>
                <a:ext cx="886279" cy="886275"/>
              </a:xfrm>
              <a:prstGeom prst="ellipse">
                <a:avLst/>
              </a:prstGeom>
              <a:solidFill>
                <a:srgbClr val="E05933"/>
              </a:solidFill>
              <a:ln>
                <a:solidFill>
                  <a:srgbClr val="E05933"/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defTabSz="342900">
                  <a:buClrTx/>
                  <a:defRPr/>
                </a:pPr>
                <a:endParaRPr lang="en-US" sz="825" kern="120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864B3B2C-7DF9-4949-80AF-DBD255401E63}"/>
                  </a:ext>
                </a:extLst>
              </p:cNvPr>
              <p:cNvSpPr/>
              <p:nvPr/>
            </p:nvSpPr>
            <p:spPr>
              <a:xfrm flipH="1">
                <a:off x="605900" y="2378445"/>
                <a:ext cx="772151" cy="772152"/>
              </a:xfrm>
              <a:prstGeom prst="ellipse">
                <a:avLst/>
              </a:prstGeom>
              <a:solidFill>
                <a:srgbClr val="E05933"/>
              </a:solidFill>
              <a:ln>
                <a:solidFill>
                  <a:srgbClr val="E0593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342900">
                  <a:buClrTx/>
                  <a:defRPr/>
                </a:pPr>
                <a:endParaRPr lang="en-US" sz="825" b="1" kern="120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73771204-58DA-43ED-AF27-ECF0AA35440E}"/>
                  </a:ext>
                </a:extLst>
              </p:cNvPr>
              <p:cNvSpPr/>
              <p:nvPr/>
            </p:nvSpPr>
            <p:spPr>
              <a:xfrm flipH="1">
                <a:off x="671795" y="2444339"/>
                <a:ext cx="640362" cy="640361"/>
              </a:xfrm>
              <a:prstGeom prst="ellipse">
                <a:avLst/>
              </a:prstGeom>
              <a:solidFill>
                <a:srgbClr val="E05933"/>
              </a:solidFill>
              <a:ln w="9525">
                <a:solidFill>
                  <a:schemeClr val="bg1"/>
                </a:solidFill>
                <a:prstDash val="sysDot"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defTabSz="342900">
                  <a:buClrTx/>
                  <a:defRPr/>
                </a:pPr>
                <a:endParaRPr lang="en-US" sz="825" kern="120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43" name="TextBox 242">
              <a:extLst>
                <a:ext uri="{FF2B5EF4-FFF2-40B4-BE49-F238E27FC236}">
                  <a16:creationId xmlns:a16="http://schemas.microsoft.com/office/drawing/2014/main" id="{8C5C5BA5-B4F4-4A90-BBA0-32ABFECD5DC4}"/>
                </a:ext>
              </a:extLst>
            </p:cNvPr>
            <p:cNvSpPr txBox="1"/>
            <p:nvPr/>
          </p:nvSpPr>
          <p:spPr>
            <a:xfrm>
              <a:off x="7373059" y="4110941"/>
              <a:ext cx="516897" cy="430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>
                <a:buClrTx/>
                <a:defRPr/>
              </a:pPr>
              <a:r>
                <a:rPr lang="en-US" sz="1500" b="1" kern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3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F1FE7BB-6BA8-4B30-910A-4BB4D3338220}"/>
              </a:ext>
            </a:extLst>
          </p:cNvPr>
          <p:cNvGrpSpPr/>
          <p:nvPr/>
        </p:nvGrpSpPr>
        <p:grpSpPr>
          <a:xfrm>
            <a:off x="6166421" y="973684"/>
            <a:ext cx="2459419" cy="3161617"/>
            <a:chOff x="6166443" y="1484978"/>
            <a:chExt cx="2736337" cy="2469130"/>
          </a:xfrm>
        </p:grpSpPr>
        <p:sp>
          <p:nvSpPr>
            <p:cNvPr id="233" name="Rectangle 141">
              <a:extLst>
                <a:ext uri="{FF2B5EF4-FFF2-40B4-BE49-F238E27FC236}">
                  <a16:creationId xmlns:a16="http://schemas.microsoft.com/office/drawing/2014/main" id="{1F534466-3862-4676-BEF4-D8757623312E}"/>
                </a:ext>
              </a:extLst>
            </p:cNvPr>
            <p:cNvSpPr/>
            <p:nvPr/>
          </p:nvSpPr>
          <p:spPr>
            <a:xfrm>
              <a:off x="6166443" y="1484978"/>
              <a:ext cx="2736337" cy="2313853"/>
            </a:xfrm>
            <a:prstGeom prst="round2SameRect">
              <a:avLst>
                <a:gd name="adj1" fmla="val 5625"/>
                <a:gd name="adj2" fmla="val 0"/>
              </a:avLst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70000" rtlCol="0" anchor="t"/>
            <a:lstStyle/>
            <a:p>
              <a:pPr marL="254794" algn="ctr" defTabSz="342900">
                <a:spcAft>
                  <a:spcPts val="600"/>
                </a:spcAft>
                <a:buClrTx/>
                <a:defRPr/>
              </a:pPr>
              <a:r>
                <a:rPr lang="en-US" sz="1200" b="1" kern="1200" dirty="0">
                  <a:solidFill>
                    <a:srgbClr val="E05933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PHASE 3. GENERATE</a:t>
              </a:r>
            </a:p>
            <a:p>
              <a:pPr algn="ctr" defTabSz="342900">
                <a:buClrTx/>
                <a:defRPr/>
              </a:pPr>
              <a:r>
                <a:rPr lang="en-US" sz="1200" kern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Develop </a:t>
              </a:r>
              <a:r>
                <a:rPr lang="en-US" sz="1200" b="1" kern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more virtual events and programming per year</a:t>
              </a:r>
              <a:r>
                <a:rPr lang="en-US" sz="1200" kern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 via AI-generated translated content</a:t>
              </a:r>
            </a:p>
            <a:p>
              <a:pPr marL="171450" indent="-171450" defTabSz="342900">
                <a:buClrTx/>
                <a:buFont typeface="Arial" panose="020B0604020202020204" pitchFamily="34" charset="0"/>
                <a:buChar char="•"/>
                <a:defRPr/>
              </a:pPr>
              <a:r>
                <a:rPr lang="en-US" sz="1200" kern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Using recorded content from past webinars, offer translations dubbed in other languages with AI-generated </a:t>
              </a:r>
            </a:p>
            <a:p>
              <a:pPr marL="171450" indent="-171450" defTabSz="342900">
                <a:buClrTx/>
                <a:buFont typeface="Arial" panose="020B0604020202020204" pitchFamily="34" charset="0"/>
                <a:buChar char="•"/>
                <a:defRPr/>
              </a:pPr>
              <a:endParaRPr lang="en-US" sz="1200" kern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4" name="Rectangle 141">
              <a:extLst>
                <a:ext uri="{FF2B5EF4-FFF2-40B4-BE49-F238E27FC236}">
                  <a16:creationId xmlns:a16="http://schemas.microsoft.com/office/drawing/2014/main" id="{984827AB-107F-4C3A-A7B9-A8D58B80ECC4}"/>
                </a:ext>
              </a:extLst>
            </p:cNvPr>
            <p:cNvSpPr/>
            <p:nvPr/>
          </p:nvSpPr>
          <p:spPr>
            <a:xfrm>
              <a:off x="6166443" y="3794684"/>
              <a:ext cx="2735122" cy="46800"/>
            </a:xfrm>
            <a:prstGeom prst="rect">
              <a:avLst/>
            </a:prstGeom>
            <a:solidFill>
              <a:srgbClr val="E05933"/>
            </a:solidFill>
            <a:ln>
              <a:solidFill>
                <a:srgbClr val="E05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>
                <a:buClrTx/>
                <a:defRPr/>
              </a:pPr>
              <a:endParaRPr lang="en-US" sz="825" kern="12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35" name="Isosceles Triangle 234">
              <a:extLst>
                <a:ext uri="{FF2B5EF4-FFF2-40B4-BE49-F238E27FC236}">
                  <a16:creationId xmlns:a16="http://schemas.microsoft.com/office/drawing/2014/main" id="{E92211FB-FF9F-4403-BBF8-912BDA05D2CE}"/>
                </a:ext>
              </a:extLst>
            </p:cNvPr>
            <p:cNvSpPr/>
            <p:nvPr/>
          </p:nvSpPr>
          <p:spPr>
            <a:xfrm flipV="1">
              <a:off x="7426887" y="3841256"/>
              <a:ext cx="214235" cy="112852"/>
            </a:xfrm>
            <a:prstGeom prst="triangle">
              <a:avLst/>
            </a:prstGeom>
            <a:solidFill>
              <a:srgbClr val="E05933"/>
            </a:solidFill>
            <a:ln>
              <a:solidFill>
                <a:srgbClr val="E05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>
                <a:buClrTx/>
                <a:defRPr/>
              </a:pPr>
              <a:endParaRPr lang="en-US" sz="1350" kern="12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1157935" y="4217031"/>
            <a:ext cx="413581" cy="413581"/>
            <a:chOff x="548837" y="2321383"/>
            <a:chExt cx="886278" cy="886275"/>
          </a:xfrm>
          <a:solidFill>
            <a:schemeClr val="accent2"/>
          </a:solidFill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CBD27349-FC16-4186-AE8D-4166E49A06E7}"/>
                </a:ext>
              </a:extLst>
            </p:cNvPr>
            <p:cNvSpPr/>
            <p:nvPr/>
          </p:nvSpPr>
          <p:spPr>
            <a:xfrm flipH="1">
              <a:off x="548837" y="2321383"/>
              <a:ext cx="886278" cy="886275"/>
            </a:xfrm>
            <a:prstGeom prst="ellipse">
              <a:avLst/>
            </a:prstGeom>
            <a:solidFill>
              <a:srgbClr val="034C9D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defTabSz="342900">
                <a:buClrTx/>
                <a:defRPr/>
              </a:pPr>
              <a:endParaRPr lang="en-US" sz="825" kern="12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CCB70F78-A9BA-4161-93D7-E8737F10A098}"/>
                </a:ext>
              </a:extLst>
            </p:cNvPr>
            <p:cNvSpPr/>
            <p:nvPr/>
          </p:nvSpPr>
          <p:spPr>
            <a:xfrm flipH="1">
              <a:off x="605900" y="2378445"/>
              <a:ext cx="772151" cy="772152"/>
            </a:xfrm>
            <a:prstGeom prst="ellipse">
              <a:avLst/>
            </a:prstGeom>
            <a:solidFill>
              <a:srgbClr val="034C9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>
                <a:buClrTx/>
                <a:defRPr/>
              </a:pPr>
              <a:endParaRPr lang="en-US" sz="825" b="1" kern="12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5A3DD685-D0F4-423F-8F2A-BAC47042262F}"/>
                </a:ext>
              </a:extLst>
            </p:cNvPr>
            <p:cNvSpPr/>
            <p:nvPr/>
          </p:nvSpPr>
          <p:spPr>
            <a:xfrm flipH="1">
              <a:off x="671795" y="2444339"/>
              <a:ext cx="640362" cy="640361"/>
            </a:xfrm>
            <a:prstGeom prst="ellipse">
              <a:avLst/>
            </a:prstGeom>
            <a:solidFill>
              <a:srgbClr val="034C9D"/>
            </a:solidFill>
            <a:ln w="9525">
              <a:solidFill>
                <a:schemeClr val="bg1"/>
              </a:solidFill>
              <a:prstDash val="sysDot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defTabSz="342900">
                <a:buClrTx/>
                <a:defRPr/>
              </a:pPr>
              <a:endParaRPr lang="en-US" sz="825" kern="12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F1BB0E7-3625-4C3A-AC70-3571705DE1F6}"/>
              </a:ext>
            </a:extLst>
          </p:cNvPr>
          <p:cNvSpPr txBox="1"/>
          <p:nvPr/>
        </p:nvSpPr>
        <p:spPr>
          <a:xfrm>
            <a:off x="1170888" y="4262238"/>
            <a:ext cx="38767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>
              <a:buClrTx/>
              <a:defRPr/>
            </a:pPr>
            <a:r>
              <a:rPr lang="en-US" sz="1500" b="1" kern="12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1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EC7A222-ACFF-4601-99A2-67E45F22A72C}"/>
              </a:ext>
            </a:extLst>
          </p:cNvPr>
          <p:cNvGrpSpPr/>
          <p:nvPr/>
        </p:nvGrpSpPr>
        <p:grpSpPr>
          <a:xfrm>
            <a:off x="4273043" y="4270435"/>
            <a:ext cx="413581" cy="413581"/>
            <a:chOff x="4438034" y="4078757"/>
            <a:chExt cx="551441" cy="551441"/>
          </a:xfrm>
        </p:grpSpPr>
        <p:grpSp>
          <p:nvGrpSpPr>
            <p:cNvPr id="214" name="Group 213">
              <a:extLst>
                <a:ext uri="{FF2B5EF4-FFF2-40B4-BE49-F238E27FC236}">
                  <a16:creationId xmlns:a16="http://schemas.microsoft.com/office/drawing/2014/main" id="{72EDD9CD-F71C-4ECF-8133-181ADA665324}"/>
                </a:ext>
              </a:extLst>
            </p:cNvPr>
            <p:cNvGrpSpPr/>
            <p:nvPr/>
          </p:nvGrpSpPr>
          <p:grpSpPr>
            <a:xfrm>
              <a:off x="4438034" y="4078757"/>
              <a:ext cx="551441" cy="551441"/>
              <a:chOff x="548837" y="2321383"/>
              <a:chExt cx="886278" cy="886275"/>
            </a:xfrm>
            <a:solidFill>
              <a:schemeClr val="accent2"/>
            </a:solidFill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53A4501B-19DE-4901-BD7D-3BC96EBC0C12}"/>
                  </a:ext>
                </a:extLst>
              </p:cNvPr>
              <p:cNvSpPr/>
              <p:nvPr/>
            </p:nvSpPr>
            <p:spPr>
              <a:xfrm flipH="1">
                <a:off x="548837" y="2321383"/>
                <a:ext cx="886278" cy="886275"/>
              </a:xfrm>
              <a:prstGeom prst="ellipse">
                <a:avLst/>
              </a:prstGeom>
              <a:solidFill>
                <a:srgbClr val="52A3FC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defTabSz="342900">
                  <a:buClrTx/>
                  <a:defRPr/>
                </a:pPr>
                <a:endParaRPr lang="en-US" sz="825" kern="120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037A49F1-03CA-4F80-B942-E109DD27FC13}"/>
                  </a:ext>
                </a:extLst>
              </p:cNvPr>
              <p:cNvSpPr/>
              <p:nvPr/>
            </p:nvSpPr>
            <p:spPr>
              <a:xfrm flipH="1">
                <a:off x="605900" y="2378445"/>
                <a:ext cx="772151" cy="772152"/>
              </a:xfrm>
              <a:prstGeom prst="ellipse">
                <a:avLst/>
              </a:prstGeom>
              <a:solidFill>
                <a:srgbClr val="52A3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342900">
                  <a:buClrTx/>
                  <a:defRPr/>
                </a:pPr>
                <a:endParaRPr lang="en-US" sz="825" b="1" kern="120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BFA785C7-7428-4C24-B53D-93407AF849C4}"/>
                  </a:ext>
                </a:extLst>
              </p:cNvPr>
              <p:cNvSpPr/>
              <p:nvPr/>
            </p:nvSpPr>
            <p:spPr>
              <a:xfrm flipH="1">
                <a:off x="671795" y="2444339"/>
                <a:ext cx="640362" cy="640361"/>
              </a:xfrm>
              <a:prstGeom prst="ellipse">
                <a:avLst/>
              </a:prstGeom>
              <a:solidFill>
                <a:srgbClr val="52A3FC"/>
              </a:solidFill>
              <a:ln w="9525">
                <a:solidFill>
                  <a:schemeClr val="bg1"/>
                </a:solidFill>
                <a:prstDash val="sysDot"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defTabSz="342900">
                  <a:buClrTx/>
                  <a:defRPr/>
                </a:pPr>
                <a:endParaRPr lang="en-US" sz="825" kern="120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2D512D59-3781-48E3-A13F-CB2E612D40B4}"/>
                </a:ext>
              </a:extLst>
            </p:cNvPr>
            <p:cNvSpPr txBox="1"/>
            <p:nvPr/>
          </p:nvSpPr>
          <p:spPr>
            <a:xfrm>
              <a:off x="4455305" y="4138837"/>
              <a:ext cx="516897" cy="430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42900">
                <a:buClrTx/>
                <a:defRPr/>
              </a:pPr>
              <a:r>
                <a:rPr lang="en-US" sz="1500" b="1" kern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2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A9EC58-DABC-0B43-46A5-85811AE66937}"/>
              </a:ext>
            </a:extLst>
          </p:cNvPr>
          <p:cNvGrpSpPr/>
          <p:nvPr/>
        </p:nvGrpSpPr>
        <p:grpSpPr>
          <a:xfrm>
            <a:off x="3261332" y="988909"/>
            <a:ext cx="2459419" cy="3146393"/>
            <a:chOff x="6166443" y="1484978"/>
            <a:chExt cx="2736337" cy="2469130"/>
          </a:xfrm>
        </p:grpSpPr>
        <p:sp>
          <p:nvSpPr>
            <p:cNvPr id="36" name="Rectangle 141">
              <a:extLst>
                <a:ext uri="{FF2B5EF4-FFF2-40B4-BE49-F238E27FC236}">
                  <a16:creationId xmlns:a16="http://schemas.microsoft.com/office/drawing/2014/main" id="{66C98474-7DE2-C50A-0247-1322CDFF8CF5}"/>
                </a:ext>
              </a:extLst>
            </p:cNvPr>
            <p:cNvSpPr/>
            <p:nvPr/>
          </p:nvSpPr>
          <p:spPr>
            <a:xfrm>
              <a:off x="6166443" y="1484978"/>
              <a:ext cx="2736337" cy="2313853"/>
            </a:xfrm>
            <a:prstGeom prst="round2SameRect">
              <a:avLst>
                <a:gd name="adj1" fmla="val 5625"/>
                <a:gd name="adj2" fmla="val 0"/>
              </a:avLst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70000" rtlCol="0" anchor="t"/>
            <a:lstStyle/>
            <a:p>
              <a:pPr algn="ctr" defTabSz="342900">
                <a:spcAft>
                  <a:spcPts val="600"/>
                </a:spcAft>
                <a:buClrTx/>
                <a:defRPr/>
              </a:pPr>
              <a:r>
                <a:rPr lang="en-US" sz="1200" b="1" kern="1200" dirty="0">
                  <a:solidFill>
                    <a:srgbClr val="52A3FC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PHASE 2. DEPLOY</a:t>
              </a:r>
              <a:endParaRPr lang="en-US" sz="1200" b="1" kern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  <a:p>
              <a:pPr algn="ctr"/>
              <a:r>
                <a:rPr lang="en-US" sz="1200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eploy first-phase webinar platform tool to participants to reduce barriers to participation and increase engagement </a:t>
              </a:r>
            </a:p>
            <a:p>
              <a:pPr marL="171450" indent="-171450" algn="ctr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rack user numbers for translation services and network testing</a:t>
              </a:r>
            </a:p>
            <a:p>
              <a:pPr marL="171450" indent="-171450" algn="ctr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rack number of </a:t>
              </a:r>
            </a:p>
            <a:p>
              <a:pPr marL="171450" indent="-171450" algn="ctr"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Rectangle 141">
              <a:extLst>
                <a:ext uri="{FF2B5EF4-FFF2-40B4-BE49-F238E27FC236}">
                  <a16:creationId xmlns:a16="http://schemas.microsoft.com/office/drawing/2014/main" id="{53421494-1319-9F38-62EE-D2C39F6A286A}"/>
                </a:ext>
              </a:extLst>
            </p:cNvPr>
            <p:cNvSpPr/>
            <p:nvPr/>
          </p:nvSpPr>
          <p:spPr>
            <a:xfrm>
              <a:off x="6166443" y="3794684"/>
              <a:ext cx="2735122" cy="46800"/>
            </a:xfrm>
            <a:prstGeom prst="rect">
              <a:avLst/>
            </a:prstGeom>
            <a:solidFill>
              <a:srgbClr val="52A3FC"/>
            </a:solidFill>
            <a:ln>
              <a:solidFill>
                <a:srgbClr val="52A3F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>
                <a:buClrTx/>
                <a:defRPr/>
              </a:pPr>
              <a:endParaRPr lang="en-US" sz="825" kern="12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8" name="Isosceles Triangle 37">
              <a:extLst>
                <a:ext uri="{FF2B5EF4-FFF2-40B4-BE49-F238E27FC236}">
                  <a16:creationId xmlns:a16="http://schemas.microsoft.com/office/drawing/2014/main" id="{70BE31F0-912F-B00E-C653-7CFCA20B7C6D}"/>
                </a:ext>
              </a:extLst>
            </p:cNvPr>
            <p:cNvSpPr/>
            <p:nvPr/>
          </p:nvSpPr>
          <p:spPr>
            <a:xfrm flipV="1">
              <a:off x="7426887" y="3841256"/>
              <a:ext cx="214235" cy="112852"/>
            </a:xfrm>
            <a:prstGeom prst="triangle">
              <a:avLst/>
            </a:prstGeom>
            <a:solidFill>
              <a:srgbClr val="52A3FC"/>
            </a:solidFill>
            <a:ln>
              <a:solidFill>
                <a:srgbClr val="52A3F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>
                <a:buClrTx/>
                <a:defRPr/>
              </a:pPr>
              <a:endParaRPr lang="en-US" sz="1350" kern="12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EA97475-22D1-882E-B41A-60EE25E539AD}"/>
              </a:ext>
            </a:extLst>
          </p:cNvPr>
          <p:cNvGrpSpPr/>
          <p:nvPr/>
        </p:nvGrpSpPr>
        <p:grpSpPr>
          <a:xfrm>
            <a:off x="492719" y="959268"/>
            <a:ext cx="2459419" cy="3176035"/>
            <a:chOff x="6166443" y="1484978"/>
            <a:chExt cx="2736337" cy="2469130"/>
          </a:xfrm>
        </p:grpSpPr>
        <p:sp>
          <p:nvSpPr>
            <p:cNvPr id="40" name="Rectangle 141">
              <a:extLst>
                <a:ext uri="{FF2B5EF4-FFF2-40B4-BE49-F238E27FC236}">
                  <a16:creationId xmlns:a16="http://schemas.microsoft.com/office/drawing/2014/main" id="{18CBA8CF-6309-270D-B7F1-0A30544AB5A1}"/>
                </a:ext>
              </a:extLst>
            </p:cNvPr>
            <p:cNvSpPr/>
            <p:nvPr/>
          </p:nvSpPr>
          <p:spPr>
            <a:xfrm>
              <a:off x="6166443" y="1484978"/>
              <a:ext cx="2736337" cy="2313853"/>
            </a:xfrm>
            <a:prstGeom prst="round2SameRect">
              <a:avLst>
                <a:gd name="adj1" fmla="val 5625"/>
                <a:gd name="adj2" fmla="val 0"/>
              </a:avLst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70000" rtlCol="0" anchor="t"/>
            <a:lstStyle/>
            <a:p>
              <a:pPr algn="ctr" defTabSz="342900">
                <a:spcAft>
                  <a:spcPts val="600"/>
                </a:spcAft>
                <a:buClrTx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34C9D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PHASE 1. UNDERSTAND</a:t>
              </a:r>
              <a:endParaRPr lang="en-US" sz="1200" b="1" kern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  <a:p>
              <a:pPr algn="ctr"/>
              <a:r>
                <a:rPr lang="en-US" sz="1200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Work hand-in-hand with partner FSPs to better understand their specific communications needs and preferences:</a:t>
              </a:r>
            </a:p>
            <a:p>
              <a:pPr marL="171450" indent="-171450" algn="ctr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nduct partner technology survey</a:t>
              </a:r>
            </a:p>
            <a:p>
              <a:pPr marL="171450" indent="-171450" algn="ctr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nduct user testing of beta-phase meeting tool and assess appetite for additional features</a:t>
              </a:r>
            </a:p>
            <a:p>
              <a:pPr marL="171450" indent="-171450" algn="ctr"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Rectangle 141">
              <a:extLst>
                <a:ext uri="{FF2B5EF4-FFF2-40B4-BE49-F238E27FC236}">
                  <a16:creationId xmlns:a16="http://schemas.microsoft.com/office/drawing/2014/main" id="{50B62B97-73BD-A570-A053-43C52FCAA970}"/>
                </a:ext>
              </a:extLst>
            </p:cNvPr>
            <p:cNvSpPr/>
            <p:nvPr/>
          </p:nvSpPr>
          <p:spPr>
            <a:xfrm>
              <a:off x="6166443" y="3794684"/>
              <a:ext cx="2735122" cy="46800"/>
            </a:xfrm>
            <a:prstGeom prst="rect">
              <a:avLst/>
            </a:prstGeom>
            <a:solidFill>
              <a:srgbClr val="034C9D"/>
            </a:solidFill>
            <a:ln>
              <a:solidFill>
                <a:srgbClr val="034C9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>
                <a:buClrTx/>
                <a:defRPr/>
              </a:pPr>
              <a:endParaRPr lang="en-US" sz="825" kern="12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42" name="Isosceles Triangle 41">
              <a:extLst>
                <a:ext uri="{FF2B5EF4-FFF2-40B4-BE49-F238E27FC236}">
                  <a16:creationId xmlns:a16="http://schemas.microsoft.com/office/drawing/2014/main" id="{7E4A4763-0407-3C8E-C4C6-F0B143B9A849}"/>
                </a:ext>
              </a:extLst>
            </p:cNvPr>
            <p:cNvSpPr/>
            <p:nvPr/>
          </p:nvSpPr>
          <p:spPr>
            <a:xfrm flipV="1">
              <a:off x="7426887" y="3841256"/>
              <a:ext cx="214235" cy="112852"/>
            </a:xfrm>
            <a:prstGeom prst="triangle">
              <a:avLst/>
            </a:prstGeom>
            <a:solidFill>
              <a:srgbClr val="034C9D"/>
            </a:solidFill>
            <a:ln>
              <a:solidFill>
                <a:srgbClr val="034C9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>
                <a:buClrTx/>
                <a:defRPr/>
              </a:pPr>
              <a:endParaRPr lang="en-US" sz="1350" kern="12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43" name="Isosceles Triangle 42">
            <a:extLst>
              <a:ext uri="{FF2B5EF4-FFF2-40B4-BE49-F238E27FC236}">
                <a16:creationId xmlns:a16="http://schemas.microsoft.com/office/drawing/2014/main" id="{CA1101AC-4681-C5EE-4425-436080EA17B5}"/>
              </a:ext>
            </a:extLst>
          </p:cNvPr>
          <p:cNvSpPr/>
          <p:nvPr/>
        </p:nvSpPr>
        <p:spPr>
          <a:xfrm rot="5563580">
            <a:off x="6286500" y="2122259"/>
            <a:ext cx="101600" cy="114300"/>
          </a:xfrm>
          <a:prstGeom prst="triangle">
            <a:avLst/>
          </a:prstGeom>
          <a:solidFill>
            <a:srgbClr val="E05933"/>
          </a:solidFill>
          <a:ln>
            <a:solidFill>
              <a:srgbClr val="E05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Isosceles Triangle 43">
            <a:extLst>
              <a:ext uri="{FF2B5EF4-FFF2-40B4-BE49-F238E27FC236}">
                <a16:creationId xmlns:a16="http://schemas.microsoft.com/office/drawing/2014/main" id="{65AFC3D2-E193-638B-5988-3C4965F851A0}"/>
              </a:ext>
            </a:extLst>
          </p:cNvPr>
          <p:cNvSpPr/>
          <p:nvPr/>
        </p:nvSpPr>
        <p:spPr>
          <a:xfrm rot="5563580">
            <a:off x="6286500" y="2491734"/>
            <a:ext cx="101600" cy="114300"/>
          </a:xfrm>
          <a:prstGeom prst="triangle">
            <a:avLst/>
          </a:prstGeom>
          <a:solidFill>
            <a:srgbClr val="E05933"/>
          </a:solidFill>
          <a:ln>
            <a:solidFill>
              <a:srgbClr val="E05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Isosceles Triangle 44">
            <a:extLst>
              <a:ext uri="{FF2B5EF4-FFF2-40B4-BE49-F238E27FC236}">
                <a16:creationId xmlns:a16="http://schemas.microsoft.com/office/drawing/2014/main" id="{40FB942D-522A-2EB4-647E-86E8AE46C841}"/>
              </a:ext>
            </a:extLst>
          </p:cNvPr>
          <p:cNvSpPr/>
          <p:nvPr/>
        </p:nvSpPr>
        <p:spPr>
          <a:xfrm rot="5563580">
            <a:off x="6286500" y="2869951"/>
            <a:ext cx="101600" cy="114300"/>
          </a:xfrm>
          <a:prstGeom prst="triangle">
            <a:avLst/>
          </a:prstGeom>
          <a:solidFill>
            <a:srgbClr val="E05933"/>
          </a:solidFill>
          <a:ln>
            <a:solidFill>
              <a:srgbClr val="E05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A360B21-5568-DBA1-DA15-1A6A005F908A}"/>
              </a:ext>
            </a:extLst>
          </p:cNvPr>
          <p:cNvGrpSpPr/>
          <p:nvPr/>
        </p:nvGrpSpPr>
        <p:grpSpPr>
          <a:xfrm>
            <a:off x="0" y="4860031"/>
            <a:ext cx="9144000" cy="314056"/>
            <a:chOff x="0" y="4860031"/>
            <a:chExt cx="9144000" cy="314056"/>
          </a:xfrm>
        </p:grpSpPr>
        <p:sp>
          <p:nvSpPr>
            <p:cNvPr id="50" name="Google Shape;100;p17">
              <a:extLst>
                <a:ext uri="{FF2B5EF4-FFF2-40B4-BE49-F238E27FC236}">
                  <a16:creationId xmlns:a16="http://schemas.microsoft.com/office/drawing/2014/main" id="{9F024DEB-600A-7791-30D2-AD8DEA4EEB56}"/>
                </a:ext>
              </a:extLst>
            </p:cNvPr>
            <p:cNvSpPr/>
            <p:nvPr/>
          </p:nvSpPr>
          <p:spPr>
            <a:xfrm flipH="1">
              <a:off x="4572000" y="4860031"/>
              <a:ext cx="4572000" cy="309300"/>
            </a:xfrm>
            <a:prstGeom prst="rect">
              <a:avLst/>
            </a:prstGeom>
            <a:solidFill>
              <a:srgbClr val="143F9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01;p17">
              <a:extLst>
                <a:ext uri="{FF2B5EF4-FFF2-40B4-BE49-F238E27FC236}">
                  <a16:creationId xmlns:a16="http://schemas.microsoft.com/office/drawing/2014/main" id="{35884E62-5751-4301-B6DD-35DEE94839B8}"/>
                </a:ext>
              </a:extLst>
            </p:cNvPr>
            <p:cNvSpPr/>
            <p:nvPr/>
          </p:nvSpPr>
          <p:spPr>
            <a:xfrm flipH="1">
              <a:off x="0" y="4864787"/>
              <a:ext cx="4572000" cy="309300"/>
            </a:xfrm>
            <a:prstGeom prst="rect">
              <a:avLst/>
            </a:prstGeom>
            <a:solidFill>
              <a:srgbClr val="1A75B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856B9C52-9161-0755-BF0A-5AA8A1368CB7}"/>
              </a:ext>
            </a:extLst>
          </p:cNvPr>
          <p:cNvGrpSpPr/>
          <p:nvPr/>
        </p:nvGrpSpPr>
        <p:grpSpPr>
          <a:xfrm>
            <a:off x="6966583" y="0"/>
            <a:ext cx="1905001" cy="282677"/>
            <a:chOff x="471947" y="0"/>
            <a:chExt cx="1905001" cy="28267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619983E-B0AA-92E8-7806-8BA8ABA7BD3D}"/>
                </a:ext>
              </a:extLst>
            </p:cNvPr>
            <p:cNvSpPr/>
            <p:nvPr/>
          </p:nvSpPr>
          <p:spPr>
            <a:xfrm>
              <a:off x="471947" y="40480"/>
              <a:ext cx="1904991" cy="242197"/>
            </a:xfrm>
            <a:prstGeom prst="rect">
              <a:avLst/>
            </a:prstGeom>
            <a:solidFill>
              <a:srgbClr val="E05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ROADMAP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412DACB-5C10-0E1A-66A6-57E3BE934496}"/>
                </a:ext>
              </a:extLst>
            </p:cNvPr>
            <p:cNvSpPr/>
            <p:nvPr/>
          </p:nvSpPr>
          <p:spPr>
            <a:xfrm>
              <a:off x="471948" y="0"/>
              <a:ext cx="1905000" cy="45719"/>
            </a:xfrm>
            <a:prstGeom prst="rect">
              <a:avLst/>
            </a:prstGeom>
            <a:solidFill>
              <a:srgbClr val="F2B8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2131737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908653D-55C2-507B-097C-522DEAA39C99}"/>
              </a:ext>
            </a:extLst>
          </p:cNvPr>
          <p:cNvSpPr/>
          <p:nvPr/>
        </p:nvSpPr>
        <p:spPr>
          <a:xfrm>
            <a:off x="0" y="0"/>
            <a:ext cx="2362200" cy="5143500"/>
          </a:xfrm>
          <a:prstGeom prst="rect">
            <a:avLst/>
          </a:prstGeom>
          <a:solidFill>
            <a:srgbClr val="143F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43F90"/>
              </a:solidFill>
            </a:endParaRPr>
          </a:p>
        </p:txBody>
      </p:sp>
      <p:sp>
        <p:nvSpPr>
          <p:cNvPr id="9" name="Google Shape;235;p36">
            <a:extLst>
              <a:ext uri="{FF2B5EF4-FFF2-40B4-BE49-F238E27FC236}">
                <a16:creationId xmlns:a16="http://schemas.microsoft.com/office/drawing/2014/main" id="{06A5DB46-1BFD-FA07-31EC-31870F8AE98D}"/>
              </a:ext>
            </a:extLst>
          </p:cNvPr>
          <p:cNvSpPr txBox="1">
            <a:spLocks/>
          </p:cNvSpPr>
          <p:nvPr/>
        </p:nvSpPr>
        <p:spPr>
          <a:xfrm>
            <a:off x="247650" y="364125"/>
            <a:ext cx="203835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2400" b="1" dirty="0">
                <a:solidFill>
                  <a:schemeClr val="bg1"/>
                </a:solidFill>
                <a:latin typeface="Montserrat" panose="00000500000000000000" pitchFamily="2" charset="0"/>
              </a:rPr>
              <a:t>Outlin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9980911-3E67-8701-4E55-CD8978F98F6A}"/>
              </a:ext>
            </a:extLst>
          </p:cNvPr>
          <p:cNvSpPr/>
          <p:nvPr/>
        </p:nvSpPr>
        <p:spPr>
          <a:xfrm>
            <a:off x="2286000" y="1374612"/>
            <a:ext cx="533400" cy="428625"/>
          </a:xfrm>
          <a:prstGeom prst="roundRect">
            <a:avLst/>
          </a:prstGeom>
          <a:solidFill>
            <a:srgbClr val="E05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6CCF4B7-1FBB-EAF3-ADC7-050B5CCC7F7A}"/>
              </a:ext>
            </a:extLst>
          </p:cNvPr>
          <p:cNvSpPr txBox="1"/>
          <p:nvPr/>
        </p:nvSpPr>
        <p:spPr>
          <a:xfrm>
            <a:off x="2952749" y="1419647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roduction and Background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1AE94B59-9087-3A30-3ED4-D89E737D2B60}"/>
              </a:ext>
            </a:extLst>
          </p:cNvPr>
          <p:cNvSpPr/>
          <p:nvPr/>
        </p:nvSpPr>
        <p:spPr>
          <a:xfrm>
            <a:off x="2286000" y="2034426"/>
            <a:ext cx="533400" cy="428625"/>
          </a:xfrm>
          <a:prstGeom prst="round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9AF8C1E-C8DE-5A65-D0AC-D474A921EA1F}"/>
              </a:ext>
            </a:extLst>
          </p:cNvPr>
          <p:cNvSpPr txBox="1"/>
          <p:nvPr/>
        </p:nvSpPr>
        <p:spPr>
          <a:xfrm>
            <a:off x="2952749" y="2058654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ution Overview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E3D9B4D-EF3A-89E3-35C8-548C7C288FF7}"/>
              </a:ext>
            </a:extLst>
          </p:cNvPr>
          <p:cNvSpPr/>
          <p:nvPr/>
        </p:nvSpPr>
        <p:spPr>
          <a:xfrm>
            <a:off x="2286000" y="2694240"/>
            <a:ext cx="533400" cy="42862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C5DA3C-9EBB-5B5B-CC2D-58F1CFB12BBB}"/>
              </a:ext>
            </a:extLst>
          </p:cNvPr>
          <p:cNvSpPr txBox="1"/>
          <p:nvPr/>
        </p:nvSpPr>
        <p:spPr>
          <a:xfrm>
            <a:off x="2952749" y="2779132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mo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615E72A-AF87-57B2-D90A-AF13671EEF9E}"/>
              </a:ext>
            </a:extLst>
          </p:cNvPr>
          <p:cNvSpPr/>
          <p:nvPr/>
        </p:nvSpPr>
        <p:spPr>
          <a:xfrm>
            <a:off x="2286000" y="3354054"/>
            <a:ext cx="533400" cy="42862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9BAC1AB-EB28-1CB4-BF7F-CD04671B2342}"/>
              </a:ext>
            </a:extLst>
          </p:cNvPr>
          <p:cNvSpPr txBox="1"/>
          <p:nvPr/>
        </p:nvSpPr>
        <p:spPr>
          <a:xfrm>
            <a:off x="2952749" y="3419018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duct Roadmap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B640B9C-CF5D-CC53-E126-FAB84A48F81D}"/>
              </a:ext>
            </a:extLst>
          </p:cNvPr>
          <p:cNvSpPr/>
          <p:nvPr/>
        </p:nvSpPr>
        <p:spPr>
          <a:xfrm>
            <a:off x="8972550" y="0"/>
            <a:ext cx="171450" cy="5143500"/>
          </a:xfrm>
          <a:prstGeom prst="rect">
            <a:avLst/>
          </a:prstGeom>
          <a:solidFill>
            <a:srgbClr val="1A75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32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240"/>
    </mc:Choice>
    <mc:Fallback xmlns="">
      <p:transition spd="slow" advTm="1624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132FA3FF-5552-3DBD-942B-F5BFB916B90A}"/>
              </a:ext>
            </a:extLst>
          </p:cNvPr>
          <p:cNvSpPr/>
          <p:nvPr/>
        </p:nvSpPr>
        <p:spPr>
          <a:xfrm>
            <a:off x="7101718" y="1934313"/>
            <a:ext cx="377952" cy="292608"/>
          </a:xfrm>
          <a:prstGeom prst="rect">
            <a:avLst/>
          </a:prstGeom>
          <a:solidFill>
            <a:srgbClr val="143F9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CA9E5FE-6860-0B6C-1FB0-8996107F5726}"/>
              </a:ext>
            </a:extLst>
          </p:cNvPr>
          <p:cNvSpPr/>
          <p:nvPr/>
        </p:nvSpPr>
        <p:spPr>
          <a:xfrm>
            <a:off x="1932432" y="1048512"/>
            <a:ext cx="377952" cy="292608"/>
          </a:xfrm>
          <a:prstGeom prst="rect">
            <a:avLst/>
          </a:prstGeom>
          <a:solidFill>
            <a:srgbClr val="143F9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5" name="Google Shape;235;p36"/>
          <p:cNvSpPr txBox="1">
            <a:spLocks noGrp="1"/>
          </p:cNvSpPr>
          <p:nvPr>
            <p:ph type="title"/>
          </p:nvPr>
        </p:nvSpPr>
        <p:spPr>
          <a:xfrm>
            <a:off x="717800" y="383175"/>
            <a:ext cx="77082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143F90"/>
                </a:solidFill>
              </a:rPr>
              <a:t>Problem Overview</a:t>
            </a:r>
            <a:endParaRPr dirty="0">
              <a:solidFill>
                <a:srgbClr val="143F9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C078654-A462-BA02-323F-2741E7B262B1}"/>
              </a:ext>
            </a:extLst>
          </p:cNvPr>
          <p:cNvSpPr/>
          <p:nvPr/>
        </p:nvSpPr>
        <p:spPr>
          <a:xfrm>
            <a:off x="1976513" y="1091711"/>
            <a:ext cx="5459076" cy="10920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ow can Women’s World Banking create an engaging digital experience that encourages effective collaboration in a globally distributed digital environment?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13E1FAC-AD78-F7C6-AA85-2137CDD382B0}"/>
              </a:ext>
            </a:extLst>
          </p:cNvPr>
          <p:cNvGrpSpPr/>
          <p:nvPr/>
        </p:nvGrpSpPr>
        <p:grpSpPr>
          <a:xfrm>
            <a:off x="6966583" y="0"/>
            <a:ext cx="1905001" cy="282677"/>
            <a:chOff x="471947" y="0"/>
            <a:chExt cx="1905001" cy="282677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05742FD-070F-5174-436B-D64AF13C2FE7}"/>
                </a:ext>
              </a:extLst>
            </p:cNvPr>
            <p:cNvSpPr/>
            <p:nvPr/>
          </p:nvSpPr>
          <p:spPr>
            <a:xfrm>
              <a:off x="471947" y="40480"/>
              <a:ext cx="1904991" cy="242197"/>
            </a:xfrm>
            <a:prstGeom prst="rect">
              <a:avLst/>
            </a:prstGeom>
            <a:solidFill>
              <a:srgbClr val="E05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INTRO AND BACKGROUND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88ABD4F-9F20-436B-6849-1EB3CBC4866B}"/>
                </a:ext>
              </a:extLst>
            </p:cNvPr>
            <p:cNvSpPr/>
            <p:nvPr/>
          </p:nvSpPr>
          <p:spPr>
            <a:xfrm>
              <a:off x="471948" y="0"/>
              <a:ext cx="1905000" cy="45719"/>
            </a:xfrm>
            <a:prstGeom prst="rect">
              <a:avLst/>
            </a:prstGeom>
            <a:solidFill>
              <a:srgbClr val="F2B8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D882D22-0366-C21F-0AF2-6A2B012CCA81}"/>
              </a:ext>
            </a:extLst>
          </p:cNvPr>
          <p:cNvGrpSpPr/>
          <p:nvPr/>
        </p:nvGrpSpPr>
        <p:grpSpPr>
          <a:xfrm>
            <a:off x="366978" y="3069523"/>
            <a:ext cx="2968901" cy="738664"/>
            <a:chOff x="306882" y="2859258"/>
            <a:chExt cx="2968901" cy="73866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6EA48D0-91AD-7E13-21E6-7AA4C032DF41}"/>
                </a:ext>
              </a:extLst>
            </p:cNvPr>
            <p:cNvGrpSpPr/>
            <p:nvPr/>
          </p:nvGrpSpPr>
          <p:grpSpPr>
            <a:xfrm>
              <a:off x="306882" y="2859258"/>
              <a:ext cx="649234" cy="649234"/>
              <a:chOff x="4438034" y="4078757"/>
              <a:chExt cx="551441" cy="551441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5EB238A0-BDEE-E790-944B-09CAE420E0ED}"/>
                  </a:ext>
                </a:extLst>
              </p:cNvPr>
              <p:cNvGrpSpPr/>
              <p:nvPr/>
            </p:nvGrpSpPr>
            <p:grpSpPr>
              <a:xfrm>
                <a:off x="4438034" y="4078757"/>
                <a:ext cx="551441" cy="551441"/>
                <a:chOff x="548837" y="2321383"/>
                <a:chExt cx="886278" cy="886275"/>
              </a:xfrm>
              <a:solidFill>
                <a:schemeClr val="accent2"/>
              </a:solidFill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C2769CA2-17A1-2F55-2BCC-BD2C5827DDE6}"/>
                    </a:ext>
                  </a:extLst>
                </p:cNvPr>
                <p:cNvSpPr/>
                <p:nvPr/>
              </p:nvSpPr>
              <p:spPr>
                <a:xfrm flipH="1">
                  <a:off x="548837" y="2321383"/>
                  <a:ext cx="886278" cy="886275"/>
                </a:xfrm>
                <a:prstGeom prst="ellipse">
                  <a:avLst/>
                </a:prstGeom>
                <a:solidFill>
                  <a:srgbClr val="1A75BC"/>
                </a:solidFill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 defTabSz="342900">
                    <a:buClrTx/>
                    <a:defRPr/>
                  </a:pPr>
                  <a:endParaRPr lang="en-US" sz="825" kern="120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Calibri" panose="020F0502020204030204" pitchFamily="34" charset="0"/>
                  </a:endParaRPr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25D04CD6-987A-0C75-2C22-4038854FDA1D}"/>
                    </a:ext>
                  </a:extLst>
                </p:cNvPr>
                <p:cNvSpPr/>
                <p:nvPr/>
              </p:nvSpPr>
              <p:spPr>
                <a:xfrm flipH="1">
                  <a:off x="605900" y="2378445"/>
                  <a:ext cx="772151" cy="772152"/>
                </a:xfrm>
                <a:prstGeom prst="ellipse">
                  <a:avLst/>
                </a:prstGeom>
                <a:solidFill>
                  <a:srgbClr val="1A75B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342900">
                    <a:buClrTx/>
                    <a:defRPr/>
                  </a:pPr>
                  <a:endParaRPr lang="en-US" sz="825" b="1" kern="120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Calibri" panose="020F0502020204030204" pitchFamily="34" charset="0"/>
                  </a:endParaRPr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A0CE55BA-2595-791A-AE99-FC3D520F32F2}"/>
                    </a:ext>
                  </a:extLst>
                </p:cNvPr>
                <p:cNvSpPr/>
                <p:nvPr/>
              </p:nvSpPr>
              <p:spPr>
                <a:xfrm flipH="1">
                  <a:off x="671795" y="2444339"/>
                  <a:ext cx="640362" cy="640361"/>
                </a:xfrm>
                <a:prstGeom prst="ellipse">
                  <a:avLst/>
                </a:prstGeom>
                <a:solidFill>
                  <a:srgbClr val="1A75BC"/>
                </a:solidFill>
                <a:ln w="9525">
                  <a:solidFill>
                    <a:schemeClr val="bg1"/>
                  </a:solidFill>
                  <a:prstDash val="sysDot"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 defTabSz="342900">
                    <a:buClrTx/>
                    <a:defRPr/>
                  </a:pPr>
                  <a:endParaRPr lang="en-US" sz="825" kern="120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Calibri" panose="020F0502020204030204" pitchFamily="34" charset="0"/>
                  </a:endParaRPr>
                </a:p>
              </p:txBody>
            </p:sp>
          </p:grp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E5276A6-7C6D-AB13-EBFB-8E02C958B199}"/>
                  </a:ext>
                </a:extLst>
              </p:cNvPr>
              <p:cNvSpPr txBox="1"/>
              <p:nvPr/>
            </p:nvSpPr>
            <p:spPr>
              <a:xfrm>
                <a:off x="4450127" y="4186166"/>
                <a:ext cx="516897" cy="3137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342900">
                  <a:buClrTx/>
                  <a:defRPr/>
                </a:pPr>
                <a:r>
                  <a:rPr lang="en-US" sz="1800" b="1" kern="12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Calibri" panose="020F0502020204030204" pitchFamily="34" charset="0"/>
                  </a:rPr>
                  <a:t>1</a:t>
                </a:r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80E0C04-D38D-3C1F-D650-E4E1B9D23494}"/>
                </a:ext>
              </a:extLst>
            </p:cNvPr>
            <p:cNvSpPr txBox="1"/>
            <p:nvPr/>
          </p:nvSpPr>
          <p:spPr>
            <a:xfrm>
              <a:off x="978961" y="2859258"/>
              <a:ext cx="229682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E05933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vent Marketing</a:t>
              </a:r>
            </a:p>
            <a:p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nsure members </a:t>
              </a:r>
              <a:r>
                <a:rPr lang="en-US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ee 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ewsletters and comms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80B9873-6E4B-629C-8602-8DC3EE09F9D3}"/>
              </a:ext>
            </a:extLst>
          </p:cNvPr>
          <p:cNvGrpSpPr/>
          <p:nvPr/>
        </p:nvGrpSpPr>
        <p:grpSpPr>
          <a:xfrm>
            <a:off x="3027811" y="3043909"/>
            <a:ext cx="2807637" cy="1169551"/>
            <a:chOff x="3162868" y="2833644"/>
            <a:chExt cx="2807637" cy="1169551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FBC2841-9FC2-2E92-4DEE-DD45A4E0F5E1}"/>
                </a:ext>
              </a:extLst>
            </p:cNvPr>
            <p:cNvGrpSpPr/>
            <p:nvPr/>
          </p:nvGrpSpPr>
          <p:grpSpPr>
            <a:xfrm>
              <a:off x="3162868" y="2859258"/>
              <a:ext cx="649234" cy="649234"/>
              <a:chOff x="4438034" y="4078757"/>
              <a:chExt cx="551441" cy="551441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7614548-377B-2F1A-D739-71EF998CB834}"/>
                  </a:ext>
                </a:extLst>
              </p:cNvPr>
              <p:cNvGrpSpPr/>
              <p:nvPr/>
            </p:nvGrpSpPr>
            <p:grpSpPr>
              <a:xfrm>
                <a:off x="4438034" y="4078757"/>
                <a:ext cx="551441" cy="551441"/>
                <a:chOff x="548837" y="2321383"/>
                <a:chExt cx="886278" cy="886275"/>
              </a:xfrm>
              <a:solidFill>
                <a:schemeClr val="accent2"/>
              </a:solidFill>
            </p:grpSpPr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AE8FBEC4-5FF6-6C31-5375-97F3CAD90FAE}"/>
                    </a:ext>
                  </a:extLst>
                </p:cNvPr>
                <p:cNvSpPr/>
                <p:nvPr/>
              </p:nvSpPr>
              <p:spPr>
                <a:xfrm flipH="1">
                  <a:off x="548837" y="2321383"/>
                  <a:ext cx="886278" cy="886275"/>
                </a:xfrm>
                <a:prstGeom prst="ellipse">
                  <a:avLst/>
                </a:prstGeom>
                <a:solidFill>
                  <a:srgbClr val="1A75BC"/>
                </a:solidFill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 defTabSz="342900">
                    <a:buClrTx/>
                    <a:defRPr/>
                  </a:pPr>
                  <a:endParaRPr lang="en-US" sz="825" kern="120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Calibri" panose="020F0502020204030204" pitchFamily="34" charset="0"/>
                  </a:endParaRPr>
                </a:p>
              </p:txBody>
            </p:sp>
            <p:sp>
              <p:nvSpPr>
                <p:cNvPr id="29" name="Oval 28">
                  <a:extLst>
                    <a:ext uri="{FF2B5EF4-FFF2-40B4-BE49-F238E27FC236}">
                      <a16:creationId xmlns:a16="http://schemas.microsoft.com/office/drawing/2014/main" id="{DDC87C4A-5A27-2593-98D7-99A8AFF2473E}"/>
                    </a:ext>
                  </a:extLst>
                </p:cNvPr>
                <p:cNvSpPr/>
                <p:nvPr/>
              </p:nvSpPr>
              <p:spPr>
                <a:xfrm flipH="1">
                  <a:off x="605900" y="2378445"/>
                  <a:ext cx="772151" cy="772152"/>
                </a:xfrm>
                <a:prstGeom prst="ellipse">
                  <a:avLst/>
                </a:prstGeom>
                <a:solidFill>
                  <a:srgbClr val="1A75B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342900">
                    <a:buClrTx/>
                    <a:defRPr/>
                  </a:pPr>
                  <a:endParaRPr lang="en-US" sz="825" b="1" kern="120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Calibri" panose="020F0502020204030204" pitchFamily="34" charset="0"/>
                  </a:endParaRPr>
                </a:p>
              </p:txBody>
            </p:sp>
            <p:sp>
              <p:nvSpPr>
                <p:cNvPr id="30" name="Oval 29">
                  <a:extLst>
                    <a:ext uri="{FF2B5EF4-FFF2-40B4-BE49-F238E27FC236}">
                      <a16:creationId xmlns:a16="http://schemas.microsoft.com/office/drawing/2014/main" id="{0D3D0142-9B30-2EFA-454A-EA238FA5BDFD}"/>
                    </a:ext>
                  </a:extLst>
                </p:cNvPr>
                <p:cNvSpPr/>
                <p:nvPr/>
              </p:nvSpPr>
              <p:spPr>
                <a:xfrm flipH="1">
                  <a:off x="671795" y="2444339"/>
                  <a:ext cx="640362" cy="640361"/>
                </a:xfrm>
                <a:prstGeom prst="ellipse">
                  <a:avLst/>
                </a:prstGeom>
                <a:solidFill>
                  <a:srgbClr val="1A75BC"/>
                </a:solidFill>
                <a:ln w="9525">
                  <a:solidFill>
                    <a:schemeClr val="bg1"/>
                  </a:solidFill>
                  <a:prstDash val="sysDot"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 defTabSz="342900">
                    <a:buClrTx/>
                    <a:defRPr/>
                  </a:pPr>
                  <a:endParaRPr lang="en-US" sz="825" kern="120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Calibri" panose="020F0502020204030204" pitchFamily="34" charset="0"/>
                  </a:endParaRPr>
                </a:p>
              </p:txBody>
            </p:sp>
          </p:grp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8FFDF689-9267-DDBA-5435-E9FB504AFDD5}"/>
                  </a:ext>
                </a:extLst>
              </p:cNvPr>
              <p:cNvSpPr txBox="1"/>
              <p:nvPr/>
            </p:nvSpPr>
            <p:spPr>
              <a:xfrm>
                <a:off x="4450127" y="4186166"/>
                <a:ext cx="516897" cy="3137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342900">
                  <a:buClrTx/>
                  <a:defRPr/>
                </a:pPr>
                <a:r>
                  <a:rPr lang="en-US" sz="1800" b="1" kern="12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Calibri" panose="020F0502020204030204" pitchFamily="34" charset="0"/>
                  </a:rPr>
                  <a:t>2</a:t>
                </a: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DFCE21E-777E-11BF-1F65-56C910B87824}"/>
                </a:ext>
              </a:extLst>
            </p:cNvPr>
            <p:cNvSpPr txBox="1"/>
            <p:nvPr/>
          </p:nvSpPr>
          <p:spPr>
            <a:xfrm>
              <a:off x="3812024" y="2833644"/>
              <a:ext cx="2158481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E05933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Workshop Collaboration</a:t>
              </a:r>
            </a:p>
            <a:p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nsure members from all over the world, even those with limited internet, can </a:t>
              </a:r>
              <a:r>
                <a:rPr lang="en-US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articipate fully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B599AB7-C72A-5CB4-5B83-E1774264FECF}"/>
              </a:ext>
            </a:extLst>
          </p:cNvPr>
          <p:cNvGrpSpPr/>
          <p:nvPr/>
        </p:nvGrpSpPr>
        <p:grpSpPr>
          <a:xfrm>
            <a:off x="5883717" y="2980536"/>
            <a:ext cx="2987857" cy="1169551"/>
            <a:chOff x="5823621" y="2770271"/>
            <a:chExt cx="2987857" cy="1169551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0F44463-145F-CADB-CE66-D2AD5E7AFA35}"/>
                </a:ext>
              </a:extLst>
            </p:cNvPr>
            <p:cNvSpPr txBox="1"/>
            <p:nvPr/>
          </p:nvSpPr>
          <p:spPr>
            <a:xfrm>
              <a:off x="6514656" y="2770271"/>
              <a:ext cx="2296822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E05933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Language Barriers</a:t>
              </a:r>
            </a:p>
            <a:p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nsure </a:t>
              </a:r>
              <a:r>
                <a:rPr lang="en-US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dequate translation 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 members who aren’t confident in English can fully engage</a:t>
              </a:r>
              <a:endPara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9B42BF8-F23D-3DA0-2866-A41DBCCAEBB4}"/>
                </a:ext>
              </a:extLst>
            </p:cNvPr>
            <p:cNvGrpSpPr/>
            <p:nvPr/>
          </p:nvGrpSpPr>
          <p:grpSpPr>
            <a:xfrm>
              <a:off x="5823621" y="2859258"/>
              <a:ext cx="649234" cy="649234"/>
              <a:chOff x="4438034" y="4078757"/>
              <a:chExt cx="551441" cy="551441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68D8AB72-08AF-88CF-7133-80ADFF3304F6}"/>
                  </a:ext>
                </a:extLst>
              </p:cNvPr>
              <p:cNvGrpSpPr/>
              <p:nvPr/>
            </p:nvGrpSpPr>
            <p:grpSpPr>
              <a:xfrm>
                <a:off x="4438034" y="4078757"/>
                <a:ext cx="551441" cy="551441"/>
                <a:chOff x="548837" y="2321383"/>
                <a:chExt cx="886278" cy="886275"/>
              </a:xfrm>
              <a:solidFill>
                <a:schemeClr val="accent2"/>
              </a:solidFill>
            </p:grpSpPr>
            <p:sp>
              <p:nvSpPr>
                <p:cNvPr id="36" name="Oval 35">
                  <a:extLst>
                    <a:ext uri="{FF2B5EF4-FFF2-40B4-BE49-F238E27FC236}">
                      <a16:creationId xmlns:a16="http://schemas.microsoft.com/office/drawing/2014/main" id="{67970710-30DE-0A92-440D-4AB4826EC584}"/>
                    </a:ext>
                  </a:extLst>
                </p:cNvPr>
                <p:cNvSpPr/>
                <p:nvPr/>
              </p:nvSpPr>
              <p:spPr>
                <a:xfrm flipH="1">
                  <a:off x="548837" y="2321383"/>
                  <a:ext cx="886278" cy="886275"/>
                </a:xfrm>
                <a:prstGeom prst="ellipse">
                  <a:avLst/>
                </a:prstGeom>
                <a:solidFill>
                  <a:srgbClr val="1A75BC"/>
                </a:solidFill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 defTabSz="342900">
                    <a:buClrTx/>
                    <a:defRPr/>
                  </a:pPr>
                  <a:endParaRPr lang="en-US" sz="825" kern="120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Calibri" panose="020F0502020204030204" pitchFamily="34" charset="0"/>
                  </a:endParaRPr>
                </a:p>
              </p:txBody>
            </p:sp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6C376B38-FAC6-CCA1-7D0F-57958BECE241}"/>
                    </a:ext>
                  </a:extLst>
                </p:cNvPr>
                <p:cNvSpPr/>
                <p:nvPr/>
              </p:nvSpPr>
              <p:spPr>
                <a:xfrm flipH="1">
                  <a:off x="605900" y="2378445"/>
                  <a:ext cx="772151" cy="772152"/>
                </a:xfrm>
                <a:prstGeom prst="ellipse">
                  <a:avLst/>
                </a:prstGeom>
                <a:solidFill>
                  <a:srgbClr val="1A75B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342900">
                    <a:buClrTx/>
                    <a:defRPr/>
                  </a:pPr>
                  <a:endParaRPr lang="en-US" sz="825" b="1" kern="120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Calibri" panose="020F0502020204030204" pitchFamily="34" charset="0"/>
                  </a:endParaRPr>
                </a:p>
              </p:txBody>
            </p:sp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9194BBF5-F44F-2068-6C4F-BFA6EF77FC8A}"/>
                    </a:ext>
                  </a:extLst>
                </p:cNvPr>
                <p:cNvSpPr/>
                <p:nvPr/>
              </p:nvSpPr>
              <p:spPr>
                <a:xfrm flipH="1">
                  <a:off x="671795" y="2444339"/>
                  <a:ext cx="640362" cy="640361"/>
                </a:xfrm>
                <a:prstGeom prst="ellipse">
                  <a:avLst/>
                </a:prstGeom>
                <a:solidFill>
                  <a:srgbClr val="1A75BC"/>
                </a:solidFill>
                <a:ln w="9525">
                  <a:solidFill>
                    <a:schemeClr val="bg1"/>
                  </a:solidFill>
                  <a:prstDash val="sysDot"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 defTabSz="342900">
                    <a:buClrTx/>
                    <a:defRPr/>
                  </a:pPr>
                  <a:endParaRPr lang="en-US" sz="825" kern="120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Calibri" panose="020F0502020204030204" pitchFamily="34" charset="0"/>
                  </a:endParaRPr>
                </a:p>
              </p:txBody>
            </p:sp>
          </p:grp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2570B3B3-3ECB-EC4D-5377-16F2489B2F86}"/>
                  </a:ext>
                </a:extLst>
              </p:cNvPr>
              <p:cNvSpPr txBox="1"/>
              <p:nvPr/>
            </p:nvSpPr>
            <p:spPr>
              <a:xfrm>
                <a:off x="4450127" y="4186166"/>
                <a:ext cx="516897" cy="3137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342900">
                  <a:buClrTx/>
                  <a:defRPr/>
                </a:pPr>
                <a:r>
                  <a:rPr lang="en-US" sz="1800" b="1" kern="12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Calibri" panose="020F0502020204030204" pitchFamily="34" charset="0"/>
                  </a:rPr>
                  <a:t>3</a:t>
                </a:r>
              </a:p>
            </p:txBody>
          </p:sp>
        </p:grp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716350F3-0A1A-2DAF-C044-59F97E0EDE4B}"/>
              </a:ext>
            </a:extLst>
          </p:cNvPr>
          <p:cNvSpPr/>
          <p:nvPr/>
        </p:nvSpPr>
        <p:spPr>
          <a:xfrm>
            <a:off x="1844101" y="2676963"/>
            <a:ext cx="5455798" cy="2669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y Challenges</a:t>
            </a:r>
          </a:p>
        </p:txBody>
      </p:sp>
    </p:spTree>
    <p:extLst>
      <p:ext uri="{BB962C8B-B14F-4D97-AF65-F5344CB8AC3E}">
        <p14:creationId xmlns:p14="http://schemas.microsoft.com/office/powerpoint/2010/main" val="272283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064"/>
    </mc:Choice>
    <mc:Fallback xmlns="">
      <p:transition spd="slow" advTm="40064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908653D-55C2-507B-097C-522DEAA39C99}"/>
              </a:ext>
            </a:extLst>
          </p:cNvPr>
          <p:cNvSpPr/>
          <p:nvPr/>
        </p:nvSpPr>
        <p:spPr>
          <a:xfrm>
            <a:off x="0" y="0"/>
            <a:ext cx="2362200" cy="5143500"/>
          </a:xfrm>
          <a:prstGeom prst="rect">
            <a:avLst/>
          </a:prstGeom>
          <a:solidFill>
            <a:srgbClr val="143F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43F90"/>
              </a:solidFill>
            </a:endParaRPr>
          </a:p>
        </p:txBody>
      </p:sp>
      <p:sp>
        <p:nvSpPr>
          <p:cNvPr id="9" name="Google Shape;235;p36">
            <a:extLst>
              <a:ext uri="{FF2B5EF4-FFF2-40B4-BE49-F238E27FC236}">
                <a16:creationId xmlns:a16="http://schemas.microsoft.com/office/drawing/2014/main" id="{06A5DB46-1BFD-FA07-31EC-31870F8AE98D}"/>
              </a:ext>
            </a:extLst>
          </p:cNvPr>
          <p:cNvSpPr txBox="1">
            <a:spLocks/>
          </p:cNvSpPr>
          <p:nvPr/>
        </p:nvSpPr>
        <p:spPr>
          <a:xfrm>
            <a:off x="247650" y="364125"/>
            <a:ext cx="203835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2400" b="1" dirty="0">
                <a:solidFill>
                  <a:schemeClr val="bg1"/>
                </a:solidFill>
                <a:latin typeface="Montserrat" panose="00000500000000000000" pitchFamily="2" charset="0"/>
              </a:rPr>
              <a:t>Outlin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9980911-3E67-8701-4E55-CD8978F98F6A}"/>
              </a:ext>
            </a:extLst>
          </p:cNvPr>
          <p:cNvSpPr/>
          <p:nvPr/>
        </p:nvSpPr>
        <p:spPr>
          <a:xfrm>
            <a:off x="2286000" y="1374612"/>
            <a:ext cx="533400" cy="428625"/>
          </a:xfrm>
          <a:prstGeom prst="round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6CCF4B7-1FBB-EAF3-ADC7-050B5CCC7F7A}"/>
              </a:ext>
            </a:extLst>
          </p:cNvPr>
          <p:cNvSpPr txBox="1"/>
          <p:nvPr/>
        </p:nvSpPr>
        <p:spPr>
          <a:xfrm>
            <a:off x="2952749" y="1419647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roduction and Background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1AE94B59-9087-3A30-3ED4-D89E737D2B60}"/>
              </a:ext>
            </a:extLst>
          </p:cNvPr>
          <p:cNvSpPr/>
          <p:nvPr/>
        </p:nvSpPr>
        <p:spPr>
          <a:xfrm>
            <a:off x="2286000" y="2034426"/>
            <a:ext cx="533400" cy="428625"/>
          </a:xfrm>
          <a:prstGeom prst="roundRect">
            <a:avLst/>
          </a:prstGeom>
          <a:solidFill>
            <a:srgbClr val="E05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9AF8C1E-C8DE-5A65-D0AC-D474A921EA1F}"/>
              </a:ext>
            </a:extLst>
          </p:cNvPr>
          <p:cNvSpPr txBox="1"/>
          <p:nvPr/>
        </p:nvSpPr>
        <p:spPr>
          <a:xfrm>
            <a:off x="2952749" y="2058654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ution Overview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E3D9B4D-EF3A-89E3-35C8-548C7C288FF7}"/>
              </a:ext>
            </a:extLst>
          </p:cNvPr>
          <p:cNvSpPr/>
          <p:nvPr/>
        </p:nvSpPr>
        <p:spPr>
          <a:xfrm>
            <a:off x="2286000" y="2694240"/>
            <a:ext cx="533400" cy="42862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C5DA3C-9EBB-5B5B-CC2D-58F1CFB12BBB}"/>
              </a:ext>
            </a:extLst>
          </p:cNvPr>
          <p:cNvSpPr txBox="1"/>
          <p:nvPr/>
        </p:nvSpPr>
        <p:spPr>
          <a:xfrm>
            <a:off x="2952749" y="2779132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mo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615E72A-AF87-57B2-D90A-AF13671EEF9E}"/>
              </a:ext>
            </a:extLst>
          </p:cNvPr>
          <p:cNvSpPr/>
          <p:nvPr/>
        </p:nvSpPr>
        <p:spPr>
          <a:xfrm>
            <a:off x="2286000" y="3354054"/>
            <a:ext cx="533400" cy="42862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9BAC1AB-EB28-1CB4-BF7F-CD04671B2342}"/>
              </a:ext>
            </a:extLst>
          </p:cNvPr>
          <p:cNvSpPr txBox="1"/>
          <p:nvPr/>
        </p:nvSpPr>
        <p:spPr>
          <a:xfrm>
            <a:off x="2952749" y="3419018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duct Roadmap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B640B9C-CF5D-CC53-E126-FAB84A48F81D}"/>
              </a:ext>
            </a:extLst>
          </p:cNvPr>
          <p:cNvSpPr/>
          <p:nvPr/>
        </p:nvSpPr>
        <p:spPr>
          <a:xfrm>
            <a:off x="8972550" y="0"/>
            <a:ext cx="171450" cy="5143500"/>
          </a:xfrm>
          <a:prstGeom prst="rect">
            <a:avLst/>
          </a:prstGeom>
          <a:solidFill>
            <a:srgbClr val="1A75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50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240"/>
    </mc:Choice>
    <mc:Fallback xmlns="">
      <p:transition spd="slow" advTm="1624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132FA3FF-5552-3DBD-942B-F5BFB916B90A}"/>
              </a:ext>
            </a:extLst>
          </p:cNvPr>
          <p:cNvSpPr/>
          <p:nvPr/>
        </p:nvSpPr>
        <p:spPr>
          <a:xfrm>
            <a:off x="3675029" y="3635275"/>
            <a:ext cx="377952" cy="292608"/>
          </a:xfrm>
          <a:prstGeom prst="rect">
            <a:avLst/>
          </a:prstGeom>
          <a:solidFill>
            <a:srgbClr val="143F9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CA9E5FE-6860-0B6C-1FB0-8996107F5726}"/>
              </a:ext>
            </a:extLst>
          </p:cNvPr>
          <p:cNvSpPr/>
          <p:nvPr/>
        </p:nvSpPr>
        <p:spPr>
          <a:xfrm>
            <a:off x="679024" y="1207008"/>
            <a:ext cx="377952" cy="292608"/>
          </a:xfrm>
          <a:prstGeom prst="rect">
            <a:avLst/>
          </a:prstGeom>
          <a:solidFill>
            <a:srgbClr val="143F9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5" name="Google Shape;235;p36"/>
          <p:cNvSpPr txBox="1">
            <a:spLocks noGrp="1"/>
          </p:cNvSpPr>
          <p:nvPr>
            <p:ph type="title"/>
          </p:nvPr>
        </p:nvSpPr>
        <p:spPr>
          <a:xfrm>
            <a:off x="717800" y="383175"/>
            <a:ext cx="77082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143F90"/>
                </a:solidFill>
              </a:rPr>
              <a:t>Solution Overview</a:t>
            </a:r>
            <a:endParaRPr dirty="0">
              <a:solidFill>
                <a:srgbClr val="143F9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C078654-A462-BA02-323F-2741E7B262B1}"/>
              </a:ext>
            </a:extLst>
          </p:cNvPr>
          <p:cNvSpPr/>
          <p:nvPr/>
        </p:nvSpPr>
        <p:spPr>
          <a:xfrm>
            <a:off x="717800" y="1258325"/>
            <a:ext cx="3290431" cy="26268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R THESIS</a:t>
            </a:r>
          </a:p>
          <a:p>
            <a:pPr algn="ctr"/>
            <a:r>
              <a:rPr lang="en-US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successfully increase members registered for WWB events and ensure effective engagement, WWB needs to make it </a:t>
            </a:r>
            <a:r>
              <a:rPr lang="en-US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 easy as possible </a:t>
            </a:r>
            <a:r>
              <a:rPr lang="en-US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 busy FSP staff to engage. That means </a:t>
            </a:r>
            <a:r>
              <a:rPr lang="en-US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eting members where they’re at.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13E1FAC-AD78-F7C6-AA85-2137CDD382B0}"/>
              </a:ext>
            </a:extLst>
          </p:cNvPr>
          <p:cNvGrpSpPr/>
          <p:nvPr/>
        </p:nvGrpSpPr>
        <p:grpSpPr>
          <a:xfrm>
            <a:off x="6966583" y="0"/>
            <a:ext cx="1905001" cy="282677"/>
            <a:chOff x="471947" y="0"/>
            <a:chExt cx="1905001" cy="282677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05742FD-070F-5174-436B-D64AF13C2FE7}"/>
                </a:ext>
              </a:extLst>
            </p:cNvPr>
            <p:cNvSpPr/>
            <p:nvPr/>
          </p:nvSpPr>
          <p:spPr>
            <a:xfrm>
              <a:off x="471947" y="40480"/>
              <a:ext cx="1904991" cy="242197"/>
            </a:xfrm>
            <a:prstGeom prst="rect">
              <a:avLst/>
            </a:prstGeom>
            <a:solidFill>
              <a:srgbClr val="E05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SOLUTION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88ABD4F-9F20-436B-6849-1EB3CBC4866B}"/>
                </a:ext>
              </a:extLst>
            </p:cNvPr>
            <p:cNvSpPr/>
            <p:nvPr/>
          </p:nvSpPr>
          <p:spPr>
            <a:xfrm>
              <a:off x="471948" y="0"/>
              <a:ext cx="1905000" cy="45719"/>
            </a:xfrm>
            <a:prstGeom prst="rect">
              <a:avLst/>
            </a:prstGeom>
            <a:solidFill>
              <a:srgbClr val="F2B8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pic>
        <p:nvPicPr>
          <p:cNvPr id="3" name="Picture 2" descr="A blue check mark and gear&#10;&#10;Description automatically generated">
            <a:extLst>
              <a:ext uri="{FF2B5EF4-FFF2-40B4-BE49-F238E27FC236}">
                <a16:creationId xmlns:a16="http://schemas.microsoft.com/office/drawing/2014/main" id="{F9950259-A5F7-B08F-49B8-C4BFC09981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4164" y="3853172"/>
            <a:ext cx="714943" cy="714943"/>
          </a:xfrm>
          <a:prstGeom prst="rect">
            <a:avLst/>
          </a:prstGeom>
        </p:spPr>
      </p:pic>
      <p:pic>
        <p:nvPicPr>
          <p:cNvPr id="6" name="Picture 5" descr="A blue and white logo&#10;&#10;Description automatically generated">
            <a:extLst>
              <a:ext uri="{FF2B5EF4-FFF2-40B4-BE49-F238E27FC236}">
                <a16:creationId xmlns:a16="http://schemas.microsoft.com/office/drawing/2014/main" id="{7631AEE3-9091-B233-5D99-2B8CE961E2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3201" y="2624250"/>
            <a:ext cx="832442" cy="832442"/>
          </a:xfrm>
          <a:prstGeom prst="rect">
            <a:avLst/>
          </a:prstGeom>
        </p:spPr>
      </p:pic>
      <p:pic>
        <p:nvPicPr>
          <p:cNvPr id="8" name="Picture 7" descr="A blue and black striped logo&#10;&#10;Description automatically generated">
            <a:extLst>
              <a:ext uri="{FF2B5EF4-FFF2-40B4-BE49-F238E27FC236}">
                <a16:creationId xmlns:a16="http://schemas.microsoft.com/office/drawing/2014/main" id="{90ACA3A6-7984-777D-CA29-0777AAF731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8632" y="1414271"/>
            <a:ext cx="647689" cy="64768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60B7424-5DF4-B63A-C4AE-E2502A6AF80D}"/>
              </a:ext>
            </a:extLst>
          </p:cNvPr>
          <p:cNvSpPr txBox="1"/>
          <p:nvPr/>
        </p:nvSpPr>
        <p:spPr>
          <a:xfrm>
            <a:off x="5475576" y="1359713"/>
            <a:ext cx="329043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E0593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 their tech stack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rvey FSP members on their preferred tools and technolog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sh newsletters and announcements to multiple platform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E7731FC-CC12-0302-25E7-5B4EF0CA6A2C}"/>
              </a:ext>
            </a:extLst>
          </p:cNvPr>
          <p:cNvSpPr txBox="1"/>
          <p:nvPr/>
        </p:nvSpPr>
        <p:spPr>
          <a:xfrm>
            <a:off x="5531007" y="3912270"/>
            <a:ext cx="34090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E0593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th easy-to-use tool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grate new functionalities with existing tools (Zoom and Gmail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42B55D8-70E3-3536-0354-CE4AC7EF8EEB}"/>
              </a:ext>
            </a:extLst>
          </p:cNvPr>
          <p:cNvSpPr txBox="1"/>
          <p:nvPr/>
        </p:nvSpPr>
        <p:spPr>
          <a:xfrm>
            <a:off x="5475576" y="2571750"/>
            <a:ext cx="340903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E0593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 multiple forma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fer other kinds of member events and track engagement across ty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sure a high ‘human touch’ in virtual events to facilitate engagement</a:t>
            </a:r>
          </a:p>
        </p:txBody>
      </p:sp>
    </p:spTree>
    <p:extLst>
      <p:ext uri="{BB962C8B-B14F-4D97-AF65-F5344CB8AC3E}">
        <p14:creationId xmlns:p14="http://schemas.microsoft.com/office/powerpoint/2010/main" val="408256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064"/>
    </mc:Choice>
    <mc:Fallback xmlns="">
      <p:transition spd="slow" advTm="40064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36"/>
          <p:cNvSpPr txBox="1">
            <a:spLocks noGrp="1"/>
          </p:cNvSpPr>
          <p:nvPr>
            <p:ph type="title"/>
          </p:nvPr>
        </p:nvSpPr>
        <p:spPr>
          <a:xfrm>
            <a:off x="717800" y="383175"/>
            <a:ext cx="77082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143F90"/>
                </a:solidFill>
              </a:rPr>
              <a:t>On Their Tech Stack</a:t>
            </a:r>
            <a:endParaRPr dirty="0">
              <a:solidFill>
                <a:srgbClr val="143F90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13E1FAC-AD78-F7C6-AA85-2137CDD382B0}"/>
              </a:ext>
            </a:extLst>
          </p:cNvPr>
          <p:cNvGrpSpPr/>
          <p:nvPr/>
        </p:nvGrpSpPr>
        <p:grpSpPr>
          <a:xfrm>
            <a:off x="6966583" y="0"/>
            <a:ext cx="1905001" cy="282677"/>
            <a:chOff x="471947" y="0"/>
            <a:chExt cx="1905001" cy="282677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05742FD-070F-5174-436B-D64AF13C2FE7}"/>
                </a:ext>
              </a:extLst>
            </p:cNvPr>
            <p:cNvSpPr/>
            <p:nvPr/>
          </p:nvSpPr>
          <p:spPr>
            <a:xfrm>
              <a:off x="471947" y="40480"/>
              <a:ext cx="1904991" cy="242197"/>
            </a:xfrm>
            <a:prstGeom prst="rect">
              <a:avLst/>
            </a:prstGeom>
            <a:solidFill>
              <a:srgbClr val="E05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SOLUTION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88ABD4F-9F20-436B-6849-1EB3CBC4866B}"/>
                </a:ext>
              </a:extLst>
            </p:cNvPr>
            <p:cNvSpPr/>
            <p:nvPr/>
          </p:nvSpPr>
          <p:spPr>
            <a:xfrm>
              <a:off x="471948" y="0"/>
              <a:ext cx="1905000" cy="45719"/>
            </a:xfrm>
            <a:prstGeom prst="rect">
              <a:avLst/>
            </a:prstGeom>
            <a:solidFill>
              <a:srgbClr val="F2B8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pic>
        <p:nvPicPr>
          <p:cNvPr id="8" name="Picture 7" descr="A blue and black striped logo&#10;&#10;Description automatically generated">
            <a:extLst>
              <a:ext uri="{FF2B5EF4-FFF2-40B4-BE49-F238E27FC236}">
                <a16:creationId xmlns:a16="http://schemas.microsoft.com/office/drawing/2014/main" id="{90ACA3A6-7984-777D-CA29-0777AAF731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3992" y="345680"/>
            <a:ext cx="647689" cy="647689"/>
          </a:xfrm>
          <a:prstGeom prst="rect">
            <a:avLst/>
          </a:prstGeom>
        </p:spPr>
      </p:pic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B66C1EDB-8EC7-F12C-AF3D-93D2AB5AED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030233"/>
              </p:ext>
            </p:extLst>
          </p:nvPr>
        </p:nvGraphicFramePr>
        <p:xfrm>
          <a:off x="5729640" y="1164590"/>
          <a:ext cx="2759594" cy="1407160"/>
        </p:xfrm>
        <a:graphic>
          <a:graphicData uri="http://schemas.openxmlformats.org/drawingml/2006/table">
            <a:tbl>
              <a:tblPr firstRow="1" bandRow="1">
                <a:tableStyleId>{E0423346-26A4-4AE9-B3C1-C0C3206B1CC0}</a:tableStyleId>
              </a:tblPr>
              <a:tblGrid>
                <a:gridCol w="2241434">
                  <a:extLst>
                    <a:ext uri="{9D8B030D-6E8A-4147-A177-3AD203B41FA5}">
                      <a16:colId xmlns:a16="http://schemas.microsoft.com/office/drawing/2014/main" val="1625443161"/>
                    </a:ext>
                  </a:extLst>
                </a:gridCol>
                <a:gridCol w="518160">
                  <a:extLst>
                    <a:ext uri="{9D8B030D-6E8A-4147-A177-3AD203B41FA5}">
                      <a16:colId xmlns:a16="http://schemas.microsoft.com/office/drawing/2014/main" val="1278330003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y Results</a:t>
                      </a:r>
                    </a:p>
                  </a:txBody>
                  <a:tcPr>
                    <a:solidFill>
                      <a:srgbClr val="143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143F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0182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Network Members Registered per Virtual Ev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34769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of Network Member Attendees per Virtual Ev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8401461"/>
                  </a:ext>
                </a:extLst>
              </a:tr>
            </a:tbl>
          </a:graphicData>
        </a:graphic>
      </p:graphicFrame>
      <p:pic>
        <p:nvPicPr>
          <p:cNvPr id="5" name="Graphic 4" descr="Checkmark with solid fill">
            <a:extLst>
              <a:ext uri="{FF2B5EF4-FFF2-40B4-BE49-F238E27FC236}">
                <a16:creationId xmlns:a16="http://schemas.microsoft.com/office/drawing/2014/main" id="{4C2D61DD-4DB0-99D6-7EF7-8D0F838056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01878" y="1590331"/>
            <a:ext cx="487356" cy="487356"/>
          </a:xfrm>
          <a:prstGeom prst="rect">
            <a:avLst/>
          </a:prstGeom>
        </p:spPr>
      </p:pic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0A945E2C-B1C7-4E64-8742-2F6CF7E8EC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95782" y="2077687"/>
            <a:ext cx="487356" cy="48735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C858BFC-03FB-21AE-4C27-C7BECCD9D8DC}"/>
              </a:ext>
            </a:extLst>
          </p:cNvPr>
          <p:cNvSpPr txBox="1"/>
          <p:nvPr/>
        </p:nvSpPr>
        <p:spPr>
          <a:xfrm>
            <a:off x="764503" y="1293331"/>
            <a:ext cx="4083341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1A75B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commended Approach</a:t>
            </a:r>
          </a:p>
          <a:p>
            <a:pPr algn="ctr"/>
            <a:endParaRPr lang="en-US" b="1" dirty="0">
              <a:solidFill>
                <a:srgbClr val="F4815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SP Regional Liaisons survey FSPs during monthly calls to determine preferred:</a:t>
            </a:r>
          </a:p>
          <a:p>
            <a:pPr marL="285750" lvl="4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munication methods (email, Facebook, WhatsApp, LinkedIn, etc.)</a:t>
            </a:r>
          </a:p>
          <a:p>
            <a:pPr marL="285750" lvl="4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rtual meeting platform</a:t>
            </a:r>
          </a:p>
          <a:p>
            <a:pPr marL="285750" lvl="4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rtual whiteboarding tool</a:t>
            </a:r>
          </a:p>
          <a:p>
            <a:pPr marL="285750" lvl="4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ther digital collaboration tools</a:t>
            </a:r>
          </a:p>
          <a:p>
            <a:pPr marL="285750" lvl="4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SP should then send communications about events to every platform preferred by FSP members and adopt the tool of the majority for virtual meetings and whiteboarding. </a:t>
            </a:r>
          </a:p>
        </p:txBody>
      </p:sp>
      <p:pic>
        <p:nvPicPr>
          <p:cNvPr id="20" name="Graphic 19" descr="Email outline">
            <a:extLst>
              <a:ext uri="{FF2B5EF4-FFF2-40B4-BE49-F238E27FC236}">
                <a16:creationId xmlns:a16="http://schemas.microsoft.com/office/drawing/2014/main" id="{57A2DF92-091F-5AF1-0197-6D0826E8CC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13221" y="3285259"/>
            <a:ext cx="914400" cy="914400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1A2628F0-5E4F-4B9A-005B-F93C85EEE911}"/>
              </a:ext>
            </a:extLst>
          </p:cNvPr>
          <p:cNvCxnSpPr>
            <a:stCxn id="20" idx="3"/>
          </p:cNvCxnSpPr>
          <p:nvPr/>
        </p:nvCxnSpPr>
        <p:spPr>
          <a:xfrm flipV="1">
            <a:off x="6227621" y="3110345"/>
            <a:ext cx="692728" cy="6321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49E06AB5-AC2E-964B-53BC-7D5261F9D235}"/>
              </a:ext>
            </a:extLst>
          </p:cNvPr>
          <p:cNvCxnSpPr>
            <a:cxnSpLocks/>
          </p:cNvCxnSpPr>
          <p:nvPr/>
        </p:nvCxnSpPr>
        <p:spPr>
          <a:xfrm>
            <a:off x="6237167" y="3742459"/>
            <a:ext cx="943235" cy="315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968F9FD-5911-CF61-CC9B-488B91185636}"/>
              </a:ext>
            </a:extLst>
          </p:cNvPr>
          <p:cNvCxnSpPr>
            <a:cxnSpLocks/>
          </p:cNvCxnSpPr>
          <p:nvPr/>
        </p:nvCxnSpPr>
        <p:spPr>
          <a:xfrm>
            <a:off x="6236604" y="3742459"/>
            <a:ext cx="553816" cy="6594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Whatsapp Logo Images – Browse 10,622 Stock Photos, Vectors, and Video |  Adobe Stock">
            <a:extLst>
              <a:ext uri="{FF2B5EF4-FFF2-40B4-BE49-F238E27FC236}">
                <a16:creationId xmlns:a16="http://schemas.microsoft.com/office/drawing/2014/main" id="{C849BE05-918A-81C0-72C5-8C9E64002B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71" t="10056" r="21943" b="8963"/>
          <a:stretch/>
        </p:blipFill>
        <p:spPr bwMode="auto">
          <a:xfrm>
            <a:off x="7079676" y="2718560"/>
            <a:ext cx="670395" cy="640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13A444B5-9F68-C41F-8F64-1BE7F35464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550" y="3453663"/>
            <a:ext cx="640741" cy="640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F032880B-B1F8-FB7E-2A25-926C417D28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3602" y="4195727"/>
            <a:ext cx="591896" cy="591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1504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064"/>
    </mc:Choice>
    <mc:Fallback xmlns="">
      <p:transition spd="slow" advTm="40064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36"/>
          <p:cNvSpPr txBox="1">
            <a:spLocks noGrp="1"/>
          </p:cNvSpPr>
          <p:nvPr>
            <p:ph type="title"/>
          </p:nvPr>
        </p:nvSpPr>
        <p:spPr>
          <a:xfrm>
            <a:off x="717800" y="383175"/>
            <a:ext cx="77082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143F90"/>
                </a:solidFill>
              </a:rPr>
              <a:t>In Multiple Formats</a:t>
            </a:r>
            <a:endParaRPr dirty="0">
              <a:solidFill>
                <a:srgbClr val="143F90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13E1FAC-AD78-F7C6-AA85-2137CDD382B0}"/>
              </a:ext>
            </a:extLst>
          </p:cNvPr>
          <p:cNvGrpSpPr/>
          <p:nvPr/>
        </p:nvGrpSpPr>
        <p:grpSpPr>
          <a:xfrm>
            <a:off x="6966583" y="0"/>
            <a:ext cx="1905001" cy="282677"/>
            <a:chOff x="471947" y="0"/>
            <a:chExt cx="1905001" cy="282677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05742FD-070F-5174-436B-D64AF13C2FE7}"/>
                </a:ext>
              </a:extLst>
            </p:cNvPr>
            <p:cNvSpPr/>
            <p:nvPr/>
          </p:nvSpPr>
          <p:spPr>
            <a:xfrm>
              <a:off x="471947" y="40480"/>
              <a:ext cx="1904991" cy="242197"/>
            </a:xfrm>
            <a:prstGeom prst="rect">
              <a:avLst/>
            </a:prstGeom>
            <a:solidFill>
              <a:srgbClr val="E05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SOLUTION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88ABD4F-9F20-436B-6849-1EB3CBC4866B}"/>
                </a:ext>
              </a:extLst>
            </p:cNvPr>
            <p:cNvSpPr/>
            <p:nvPr/>
          </p:nvSpPr>
          <p:spPr>
            <a:xfrm>
              <a:off x="471948" y="0"/>
              <a:ext cx="1905000" cy="45719"/>
            </a:xfrm>
            <a:prstGeom prst="rect">
              <a:avLst/>
            </a:prstGeom>
            <a:solidFill>
              <a:srgbClr val="F2B8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9708345-F683-9BFA-E3B9-C6E653538D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529069"/>
              </p:ext>
            </p:extLst>
          </p:nvPr>
        </p:nvGraphicFramePr>
        <p:xfrm>
          <a:off x="5510690" y="993369"/>
          <a:ext cx="3013180" cy="1620520"/>
        </p:xfrm>
        <a:graphic>
          <a:graphicData uri="http://schemas.openxmlformats.org/drawingml/2006/table">
            <a:tbl>
              <a:tblPr firstRow="1" bandRow="1">
                <a:tableStyleId>{E0423346-26A4-4AE9-B3C1-C0C3206B1CC0}</a:tableStyleId>
              </a:tblPr>
              <a:tblGrid>
                <a:gridCol w="2447405">
                  <a:extLst>
                    <a:ext uri="{9D8B030D-6E8A-4147-A177-3AD203B41FA5}">
                      <a16:colId xmlns:a16="http://schemas.microsoft.com/office/drawing/2014/main" val="1625443161"/>
                    </a:ext>
                  </a:extLst>
                </a:gridCol>
                <a:gridCol w="565775">
                  <a:extLst>
                    <a:ext uri="{9D8B030D-6E8A-4147-A177-3AD203B41FA5}">
                      <a16:colId xmlns:a16="http://schemas.microsoft.com/office/drawing/2014/main" val="1278330003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y Results</a:t>
                      </a:r>
                    </a:p>
                  </a:txBody>
                  <a:tcPr>
                    <a:solidFill>
                      <a:srgbClr val="143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143F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0182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Network Members who Take an Action based on Learnings from Virtual Ev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34769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of Women Reached through Network Member Ac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8401461"/>
                  </a:ext>
                </a:extLst>
              </a:tr>
            </a:tbl>
          </a:graphicData>
        </a:graphic>
      </p:graphicFrame>
      <p:pic>
        <p:nvPicPr>
          <p:cNvPr id="3" name="Graphic 2" descr="Checkmark with solid fill">
            <a:extLst>
              <a:ext uri="{FF2B5EF4-FFF2-40B4-BE49-F238E27FC236}">
                <a16:creationId xmlns:a16="http://schemas.microsoft.com/office/drawing/2014/main" id="{0785EDAC-E4B1-5735-F1D9-17FDCCB406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11461" y="1531425"/>
            <a:ext cx="487356" cy="487356"/>
          </a:xfrm>
          <a:prstGeom prst="rect">
            <a:avLst/>
          </a:prstGeom>
        </p:spPr>
      </p:pic>
      <p:pic>
        <p:nvPicPr>
          <p:cNvPr id="4" name="Graphic 3" descr="Checkmark with solid fill">
            <a:extLst>
              <a:ext uri="{FF2B5EF4-FFF2-40B4-BE49-F238E27FC236}">
                <a16:creationId xmlns:a16="http://schemas.microsoft.com/office/drawing/2014/main" id="{C4C8876C-35AB-29AB-AB7B-062C49229C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93612" y="2115916"/>
            <a:ext cx="487356" cy="4873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BED958-8B69-81FE-CC46-8472C2292020}"/>
              </a:ext>
            </a:extLst>
          </p:cNvPr>
          <p:cNvSpPr txBox="1"/>
          <p:nvPr/>
        </p:nvSpPr>
        <p:spPr>
          <a:xfrm>
            <a:off x="764503" y="1293331"/>
            <a:ext cx="408334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1A75B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commended Approach</a:t>
            </a:r>
          </a:p>
          <a:p>
            <a:pPr algn="ctr"/>
            <a:endParaRPr lang="en-US" b="1" dirty="0">
              <a:solidFill>
                <a:srgbClr val="F4815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fer occasional conference call-only webinars, particularly in regions that struggle the most with fast connectiv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lement polling software and other engagement tools so even those with limited bandwidth can connect and particip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st other forms of virtual collaboration and member engagement by region and sector and identify which are most popular and engag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sure facilitators for each breakout room in virtual events who can assist with whiteboarding and keep the conversation mov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 descr="A blue and white logo&#10;&#10;Description automatically generated">
            <a:extLst>
              <a:ext uri="{FF2B5EF4-FFF2-40B4-BE49-F238E27FC236}">
                <a16:creationId xmlns:a16="http://schemas.microsoft.com/office/drawing/2014/main" id="{518E27F2-E7D3-2004-67C4-9CBE1D25AD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8437" y="282677"/>
            <a:ext cx="832442" cy="832442"/>
          </a:xfrm>
          <a:prstGeom prst="rect">
            <a:avLst/>
          </a:prstGeom>
        </p:spPr>
      </p:pic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43DA8A0-450D-ED6C-0839-3115BE2B8A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6844234"/>
              </p:ext>
            </p:extLst>
          </p:nvPr>
        </p:nvGraphicFramePr>
        <p:xfrm>
          <a:off x="5638801" y="2656548"/>
          <a:ext cx="2899756" cy="22556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78908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064"/>
    </mc:Choice>
    <mc:Fallback xmlns="">
      <p:transition spd="slow" advTm="40064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36"/>
          <p:cNvSpPr txBox="1">
            <a:spLocks noGrp="1"/>
          </p:cNvSpPr>
          <p:nvPr>
            <p:ph type="title"/>
          </p:nvPr>
        </p:nvSpPr>
        <p:spPr>
          <a:xfrm>
            <a:off x="717800" y="383175"/>
            <a:ext cx="77082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143F90"/>
                </a:solidFill>
              </a:rPr>
              <a:t>With Easy-to-Use Tools</a:t>
            </a:r>
            <a:endParaRPr dirty="0">
              <a:solidFill>
                <a:srgbClr val="143F90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13E1FAC-AD78-F7C6-AA85-2137CDD382B0}"/>
              </a:ext>
            </a:extLst>
          </p:cNvPr>
          <p:cNvGrpSpPr/>
          <p:nvPr/>
        </p:nvGrpSpPr>
        <p:grpSpPr>
          <a:xfrm>
            <a:off x="6966583" y="0"/>
            <a:ext cx="1905001" cy="282677"/>
            <a:chOff x="471947" y="0"/>
            <a:chExt cx="1905001" cy="282677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05742FD-070F-5174-436B-D64AF13C2FE7}"/>
                </a:ext>
              </a:extLst>
            </p:cNvPr>
            <p:cNvSpPr/>
            <p:nvPr/>
          </p:nvSpPr>
          <p:spPr>
            <a:xfrm>
              <a:off x="471947" y="40480"/>
              <a:ext cx="1904991" cy="242197"/>
            </a:xfrm>
            <a:prstGeom prst="rect">
              <a:avLst/>
            </a:prstGeom>
            <a:solidFill>
              <a:srgbClr val="E05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SOLUTION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88ABD4F-9F20-436B-6849-1EB3CBC4866B}"/>
                </a:ext>
              </a:extLst>
            </p:cNvPr>
            <p:cNvSpPr/>
            <p:nvPr/>
          </p:nvSpPr>
          <p:spPr>
            <a:xfrm>
              <a:off x="471948" y="0"/>
              <a:ext cx="1905000" cy="45719"/>
            </a:xfrm>
            <a:prstGeom prst="rect">
              <a:avLst/>
            </a:prstGeom>
            <a:solidFill>
              <a:srgbClr val="F2B8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aphicFrame>
        <p:nvGraphicFramePr>
          <p:cNvPr id="6" name="Table 3">
            <a:extLst>
              <a:ext uri="{FF2B5EF4-FFF2-40B4-BE49-F238E27FC236}">
                <a16:creationId xmlns:a16="http://schemas.microsoft.com/office/drawing/2014/main" id="{E65BBC53-719F-D109-188E-53928C40D0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4402538"/>
              </p:ext>
            </p:extLst>
          </p:nvPr>
        </p:nvGraphicFramePr>
        <p:xfrm>
          <a:off x="921545" y="2654918"/>
          <a:ext cx="3432602" cy="1859280"/>
        </p:xfrm>
        <a:graphic>
          <a:graphicData uri="http://schemas.openxmlformats.org/drawingml/2006/table">
            <a:tbl>
              <a:tblPr firstRow="1" bandRow="1">
                <a:tableStyleId>{E0423346-26A4-4AE9-B3C1-C0C3206B1CC0}</a:tableStyleId>
              </a:tblPr>
              <a:tblGrid>
                <a:gridCol w="2788074">
                  <a:extLst>
                    <a:ext uri="{9D8B030D-6E8A-4147-A177-3AD203B41FA5}">
                      <a16:colId xmlns:a16="http://schemas.microsoft.com/office/drawing/2014/main" val="1625443161"/>
                    </a:ext>
                  </a:extLst>
                </a:gridCol>
                <a:gridCol w="644528">
                  <a:extLst>
                    <a:ext uri="{9D8B030D-6E8A-4147-A177-3AD203B41FA5}">
                      <a16:colId xmlns:a16="http://schemas.microsoft.com/office/drawing/2014/main" val="1278330003"/>
                    </a:ext>
                  </a:extLst>
                </a:gridCol>
              </a:tblGrid>
              <a:tr h="290867">
                <a:tc gridSpan="2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y Results</a:t>
                      </a:r>
                    </a:p>
                  </a:txBody>
                  <a:tcPr>
                    <a:solidFill>
                      <a:srgbClr val="143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143F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018228"/>
                  </a:ext>
                </a:extLst>
              </a:tr>
              <a:tr h="406417"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Network Member Attendees per Virtual Ev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3476984"/>
                  </a:ext>
                </a:extLst>
              </a:tr>
              <a:tr h="573765"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Network Members who Take an Action based on Learnings from Virtual Ev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8401461"/>
                  </a:ext>
                </a:extLst>
              </a:tr>
              <a:tr h="290867"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Virtual Events per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6958655"/>
                  </a:ext>
                </a:extLst>
              </a:tr>
            </a:tbl>
          </a:graphicData>
        </a:graphic>
      </p:graphicFrame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09B0174F-344F-3AC8-503F-1218E5BA6D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76737" y="2985540"/>
            <a:ext cx="487356" cy="487356"/>
          </a:xfrm>
          <a:prstGeom prst="rect">
            <a:avLst/>
          </a:prstGeom>
        </p:spPr>
      </p:pic>
      <p:pic>
        <p:nvPicPr>
          <p:cNvPr id="10" name="Graphic 9" descr="Checkmark with solid fill">
            <a:extLst>
              <a:ext uri="{FF2B5EF4-FFF2-40B4-BE49-F238E27FC236}">
                <a16:creationId xmlns:a16="http://schemas.microsoft.com/office/drawing/2014/main" id="{F63DE689-F956-5928-06D5-06F48E8D22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76737" y="3631383"/>
            <a:ext cx="487356" cy="487356"/>
          </a:xfrm>
          <a:prstGeom prst="rect">
            <a:avLst/>
          </a:prstGeom>
        </p:spPr>
      </p:pic>
      <p:pic>
        <p:nvPicPr>
          <p:cNvPr id="11" name="Graphic 10" descr="Checkmark with solid fill">
            <a:extLst>
              <a:ext uri="{FF2B5EF4-FFF2-40B4-BE49-F238E27FC236}">
                <a16:creationId xmlns:a16="http://schemas.microsoft.com/office/drawing/2014/main" id="{2C62CC9B-F793-B461-B7B9-5042FA638F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76737" y="4130817"/>
            <a:ext cx="487356" cy="48735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C7BD999-0866-80CF-7C7A-81846943A5EE}"/>
              </a:ext>
            </a:extLst>
          </p:cNvPr>
          <p:cNvSpPr txBox="1"/>
          <p:nvPr/>
        </p:nvSpPr>
        <p:spPr>
          <a:xfrm>
            <a:off x="717800" y="1227160"/>
            <a:ext cx="4083341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b="1" dirty="0">
                <a:solidFill>
                  <a:srgbClr val="1A75B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commended Approach</a:t>
            </a:r>
            <a:endParaRPr lang="en-US" b="1" dirty="0">
              <a:solidFill>
                <a:srgbClr val="F4815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SP adopts our new state-of-the-art web conferencing plugin that integrates with video conferencing tool of their choice to provide suite of enhanced virtual collaboration features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B1C89BB-05C3-48AF-6AC0-A33FC9AAAA29}"/>
              </a:ext>
            </a:extLst>
          </p:cNvPr>
          <p:cNvSpPr/>
          <p:nvPr/>
        </p:nvSpPr>
        <p:spPr>
          <a:xfrm>
            <a:off x="5323500" y="1275452"/>
            <a:ext cx="3548074" cy="266901"/>
          </a:xfrm>
          <a:prstGeom prst="rect">
            <a:avLst/>
          </a:prstGeom>
          <a:solidFill>
            <a:srgbClr val="143F9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eature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487DE96-E92A-F3F6-5926-6574939F3EF9}"/>
              </a:ext>
            </a:extLst>
          </p:cNvPr>
          <p:cNvGrpSpPr/>
          <p:nvPr/>
        </p:nvGrpSpPr>
        <p:grpSpPr>
          <a:xfrm>
            <a:off x="5334079" y="1570438"/>
            <a:ext cx="745046" cy="754300"/>
            <a:chOff x="6456643" y="1720268"/>
            <a:chExt cx="841035" cy="85148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6A781F7-D2DA-8744-EA4B-CEA6917C65C3}"/>
                </a:ext>
              </a:extLst>
            </p:cNvPr>
            <p:cNvSpPr/>
            <p:nvPr/>
          </p:nvSpPr>
          <p:spPr>
            <a:xfrm>
              <a:off x="6456643" y="1720268"/>
              <a:ext cx="841035" cy="851482"/>
            </a:xfrm>
            <a:prstGeom prst="ellipse">
              <a:avLst/>
            </a:prstGeom>
            <a:solidFill>
              <a:srgbClr val="1A75B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3BB7CE0-E1D2-C52F-804A-B40FCEE61F18}"/>
                </a:ext>
              </a:extLst>
            </p:cNvPr>
            <p:cNvSpPr/>
            <p:nvPr/>
          </p:nvSpPr>
          <p:spPr>
            <a:xfrm>
              <a:off x="6508025" y="1771650"/>
              <a:ext cx="748718" cy="7487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Picture 21" descr="A blue line drawing of a globe and speedometer&#10;&#10;Description automatically generated">
              <a:extLst>
                <a:ext uri="{FF2B5EF4-FFF2-40B4-BE49-F238E27FC236}">
                  <a16:creationId xmlns:a16="http://schemas.microsoft.com/office/drawing/2014/main" id="{5054AA9C-BDC4-BE7B-40DC-D50BF7BFF5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92360" y="1839185"/>
              <a:ext cx="585680" cy="585680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B2A8AC9-E07B-FF02-50D2-F1A276DF153A}"/>
              </a:ext>
            </a:extLst>
          </p:cNvPr>
          <p:cNvGrpSpPr/>
          <p:nvPr/>
        </p:nvGrpSpPr>
        <p:grpSpPr>
          <a:xfrm>
            <a:off x="5334079" y="2385655"/>
            <a:ext cx="737760" cy="751756"/>
            <a:chOff x="5323500" y="2571750"/>
            <a:chExt cx="778238" cy="793002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00CA3994-87CF-CA72-1734-FD0FB628FC62}"/>
                </a:ext>
              </a:extLst>
            </p:cNvPr>
            <p:cNvGrpSpPr/>
            <p:nvPr/>
          </p:nvGrpSpPr>
          <p:grpSpPr>
            <a:xfrm>
              <a:off x="5323500" y="2571750"/>
              <a:ext cx="778238" cy="778238"/>
              <a:chOff x="6456643" y="1720268"/>
              <a:chExt cx="851482" cy="851482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33EFEB28-E98A-2383-0296-0C9E181DC965}"/>
                  </a:ext>
                </a:extLst>
              </p:cNvPr>
              <p:cNvSpPr/>
              <p:nvPr/>
            </p:nvSpPr>
            <p:spPr>
              <a:xfrm>
                <a:off x="6456643" y="1720268"/>
                <a:ext cx="851482" cy="851482"/>
              </a:xfrm>
              <a:prstGeom prst="ellipse">
                <a:avLst/>
              </a:prstGeom>
              <a:solidFill>
                <a:srgbClr val="1A75BC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74FC8E36-AEE7-0875-C9CA-E15089662E09}"/>
                  </a:ext>
                </a:extLst>
              </p:cNvPr>
              <p:cNvSpPr/>
              <p:nvPr/>
            </p:nvSpPr>
            <p:spPr>
              <a:xfrm>
                <a:off x="6508025" y="1771650"/>
                <a:ext cx="748718" cy="74871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33" name="Picture 32" descr="A blue and black chat bubbles&#10;&#10;Description automatically generated">
              <a:extLst>
                <a:ext uri="{FF2B5EF4-FFF2-40B4-BE49-F238E27FC236}">
                  <a16:creationId xmlns:a16="http://schemas.microsoft.com/office/drawing/2014/main" id="{D5494059-18FE-4904-B9F6-0BABBB3DAB3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395057" y="2739171"/>
              <a:ext cx="625581" cy="625581"/>
            </a:xfrm>
            <a:prstGeom prst="rect">
              <a:avLst/>
            </a:prstGeom>
          </p:spPr>
        </p:pic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84EB5CF-2F6F-65E0-A7E4-A821382825B4}"/>
              </a:ext>
            </a:extLst>
          </p:cNvPr>
          <p:cNvGrpSpPr/>
          <p:nvPr/>
        </p:nvGrpSpPr>
        <p:grpSpPr>
          <a:xfrm>
            <a:off x="5334079" y="3198328"/>
            <a:ext cx="759278" cy="759278"/>
            <a:chOff x="5323500" y="3478929"/>
            <a:chExt cx="778238" cy="778238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CEDF50F-FE45-F1E4-C961-FB862623D5D6}"/>
                </a:ext>
              </a:extLst>
            </p:cNvPr>
            <p:cNvGrpSpPr/>
            <p:nvPr/>
          </p:nvGrpSpPr>
          <p:grpSpPr>
            <a:xfrm>
              <a:off x="5323500" y="3478929"/>
              <a:ext cx="778238" cy="778238"/>
              <a:chOff x="6456643" y="1720268"/>
              <a:chExt cx="851482" cy="851482"/>
            </a:xfrm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E407B6AB-D308-89B9-1025-7EC76A46059B}"/>
                  </a:ext>
                </a:extLst>
              </p:cNvPr>
              <p:cNvSpPr/>
              <p:nvPr/>
            </p:nvSpPr>
            <p:spPr>
              <a:xfrm>
                <a:off x="6456643" y="1720268"/>
                <a:ext cx="851482" cy="851482"/>
              </a:xfrm>
              <a:prstGeom prst="ellipse">
                <a:avLst/>
              </a:prstGeom>
              <a:solidFill>
                <a:srgbClr val="1A75BC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12A29B98-3C41-B888-A545-EA30B8CAE6AB}"/>
                  </a:ext>
                </a:extLst>
              </p:cNvPr>
              <p:cNvSpPr/>
              <p:nvPr/>
            </p:nvSpPr>
            <p:spPr>
              <a:xfrm>
                <a:off x="6508025" y="1771650"/>
                <a:ext cx="748718" cy="74871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35" name="Picture 34" descr="A blue and black calendar with a clock&#10;&#10;Description automatically generated">
              <a:extLst>
                <a:ext uri="{FF2B5EF4-FFF2-40B4-BE49-F238E27FC236}">
                  <a16:creationId xmlns:a16="http://schemas.microsoft.com/office/drawing/2014/main" id="{8EEDD88D-6D0F-4637-77D0-5BAD8128BD1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459775" y="3612627"/>
              <a:ext cx="510841" cy="510841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15BDFEA-EF2A-02EB-E06B-EAA40165AE60}"/>
              </a:ext>
            </a:extLst>
          </p:cNvPr>
          <p:cNvGrpSpPr/>
          <p:nvPr/>
        </p:nvGrpSpPr>
        <p:grpSpPr>
          <a:xfrm>
            <a:off x="5334079" y="4018523"/>
            <a:ext cx="741802" cy="741802"/>
            <a:chOff x="5276538" y="4304129"/>
            <a:chExt cx="778238" cy="77823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17CB9FB-B2EC-AD46-B77A-9012D1FBE179}"/>
                </a:ext>
              </a:extLst>
            </p:cNvPr>
            <p:cNvGrpSpPr/>
            <p:nvPr/>
          </p:nvGrpSpPr>
          <p:grpSpPr>
            <a:xfrm>
              <a:off x="5276538" y="4304129"/>
              <a:ext cx="778238" cy="778238"/>
              <a:chOff x="6456643" y="1720268"/>
              <a:chExt cx="851482" cy="851482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FD2DE6C1-1C0C-F4BB-6E5C-AC90D3DD8A3D}"/>
                  </a:ext>
                </a:extLst>
              </p:cNvPr>
              <p:cNvSpPr/>
              <p:nvPr/>
            </p:nvSpPr>
            <p:spPr>
              <a:xfrm>
                <a:off x="6456643" y="1720268"/>
                <a:ext cx="851482" cy="851482"/>
              </a:xfrm>
              <a:prstGeom prst="ellipse">
                <a:avLst/>
              </a:prstGeom>
              <a:solidFill>
                <a:srgbClr val="1A75BC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CFD1B109-13A5-23FA-727D-15D00CBB7E54}"/>
                  </a:ext>
                </a:extLst>
              </p:cNvPr>
              <p:cNvSpPr/>
              <p:nvPr/>
            </p:nvSpPr>
            <p:spPr>
              <a:xfrm>
                <a:off x="6508025" y="1771650"/>
                <a:ext cx="748718" cy="74871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43" name="Picture 42" descr="A blue line drawing of a light bulb and a pencil&#10;&#10;Description automatically generated">
              <a:extLst>
                <a:ext uri="{FF2B5EF4-FFF2-40B4-BE49-F238E27FC236}">
                  <a16:creationId xmlns:a16="http://schemas.microsoft.com/office/drawing/2014/main" id="{34803DB6-DCA4-1D0C-C813-A044E695E95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422059" y="4481399"/>
              <a:ext cx="487196" cy="487196"/>
            </a:xfrm>
            <a:prstGeom prst="rect">
              <a:avLst/>
            </a:prstGeom>
          </p:spPr>
        </p:pic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CA7E10EB-1978-FBF8-9EFF-2F9E8EAC8D6B}"/>
              </a:ext>
            </a:extLst>
          </p:cNvPr>
          <p:cNvSpPr txBox="1"/>
          <p:nvPr/>
        </p:nvSpPr>
        <p:spPr>
          <a:xfrm>
            <a:off x="6158345" y="1675783"/>
            <a:ext cx="271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uided tech support to ensure maximum network speed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3221AB2-F280-2B7F-4411-41975DC7DABB}"/>
              </a:ext>
            </a:extLst>
          </p:cNvPr>
          <p:cNvSpPr txBox="1"/>
          <p:nvPr/>
        </p:nvSpPr>
        <p:spPr>
          <a:xfrm>
            <a:off x="6151275" y="2384751"/>
            <a:ext cx="271322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al-time speech-to-text translations for 133 languages, powered by Google Translat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E8182EC-2ADF-2C04-9D25-3BA55F2CD893}"/>
              </a:ext>
            </a:extLst>
          </p:cNvPr>
          <p:cNvSpPr txBox="1"/>
          <p:nvPr/>
        </p:nvSpPr>
        <p:spPr>
          <a:xfrm>
            <a:off x="6180494" y="3268912"/>
            <a:ext cx="271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minders for future events and convenient save to calendar tool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09598C4-5BF7-3B14-F735-5BCE7D267034}"/>
              </a:ext>
            </a:extLst>
          </p:cNvPr>
          <p:cNvSpPr txBox="1"/>
          <p:nvPr/>
        </p:nvSpPr>
        <p:spPr>
          <a:xfrm>
            <a:off x="6180494" y="4001584"/>
            <a:ext cx="274244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uture possibilities in content generation and speech-to-speech translation services, powered by AI</a:t>
            </a:r>
          </a:p>
        </p:txBody>
      </p:sp>
      <p:pic>
        <p:nvPicPr>
          <p:cNvPr id="51" name="Picture 50" descr="A blue check mark and gear&#10;&#10;Description automatically generated">
            <a:extLst>
              <a:ext uri="{FF2B5EF4-FFF2-40B4-BE49-F238E27FC236}">
                <a16:creationId xmlns:a16="http://schemas.microsoft.com/office/drawing/2014/main" id="{39182371-E990-97FE-0B62-A452BD1FF1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91528" y="338588"/>
            <a:ext cx="714943" cy="714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184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064"/>
    </mc:Choice>
    <mc:Fallback xmlns="">
      <p:transition spd="slow" advTm="40064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908653D-55C2-507B-097C-522DEAA39C99}"/>
              </a:ext>
            </a:extLst>
          </p:cNvPr>
          <p:cNvSpPr/>
          <p:nvPr/>
        </p:nvSpPr>
        <p:spPr>
          <a:xfrm>
            <a:off x="0" y="0"/>
            <a:ext cx="2362200" cy="5143500"/>
          </a:xfrm>
          <a:prstGeom prst="rect">
            <a:avLst/>
          </a:prstGeom>
          <a:solidFill>
            <a:srgbClr val="143F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43F90"/>
              </a:solidFill>
            </a:endParaRPr>
          </a:p>
        </p:txBody>
      </p:sp>
      <p:sp>
        <p:nvSpPr>
          <p:cNvPr id="9" name="Google Shape;235;p36">
            <a:extLst>
              <a:ext uri="{FF2B5EF4-FFF2-40B4-BE49-F238E27FC236}">
                <a16:creationId xmlns:a16="http://schemas.microsoft.com/office/drawing/2014/main" id="{06A5DB46-1BFD-FA07-31EC-31870F8AE98D}"/>
              </a:ext>
            </a:extLst>
          </p:cNvPr>
          <p:cNvSpPr txBox="1">
            <a:spLocks/>
          </p:cNvSpPr>
          <p:nvPr/>
        </p:nvSpPr>
        <p:spPr>
          <a:xfrm>
            <a:off x="247650" y="364125"/>
            <a:ext cx="203835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2400" b="1" dirty="0">
                <a:solidFill>
                  <a:schemeClr val="bg1"/>
                </a:solidFill>
                <a:latin typeface="Montserrat" panose="00000500000000000000" pitchFamily="2" charset="0"/>
              </a:rPr>
              <a:t>Outlin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9980911-3E67-8701-4E55-CD8978F98F6A}"/>
              </a:ext>
            </a:extLst>
          </p:cNvPr>
          <p:cNvSpPr/>
          <p:nvPr/>
        </p:nvSpPr>
        <p:spPr>
          <a:xfrm>
            <a:off x="2286000" y="1374612"/>
            <a:ext cx="533400" cy="428625"/>
          </a:xfrm>
          <a:prstGeom prst="round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6CCF4B7-1FBB-EAF3-ADC7-050B5CCC7F7A}"/>
              </a:ext>
            </a:extLst>
          </p:cNvPr>
          <p:cNvSpPr txBox="1"/>
          <p:nvPr/>
        </p:nvSpPr>
        <p:spPr>
          <a:xfrm>
            <a:off x="2952749" y="1419647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roduction and Background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1AE94B59-9087-3A30-3ED4-D89E737D2B60}"/>
              </a:ext>
            </a:extLst>
          </p:cNvPr>
          <p:cNvSpPr/>
          <p:nvPr/>
        </p:nvSpPr>
        <p:spPr>
          <a:xfrm>
            <a:off x="2286000" y="2034426"/>
            <a:ext cx="533400" cy="428625"/>
          </a:xfrm>
          <a:prstGeom prst="round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9AF8C1E-C8DE-5A65-D0AC-D474A921EA1F}"/>
              </a:ext>
            </a:extLst>
          </p:cNvPr>
          <p:cNvSpPr txBox="1"/>
          <p:nvPr/>
        </p:nvSpPr>
        <p:spPr>
          <a:xfrm>
            <a:off x="2952749" y="2058654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ution Overview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E3D9B4D-EF3A-89E3-35C8-548C7C288FF7}"/>
              </a:ext>
            </a:extLst>
          </p:cNvPr>
          <p:cNvSpPr/>
          <p:nvPr/>
        </p:nvSpPr>
        <p:spPr>
          <a:xfrm>
            <a:off x="2286000" y="2694240"/>
            <a:ext cx="533400" cy="428625"/>
          </a:xfrm>
          <a:prstGeom prst="roundRect">
            <a:avLst/>
          </a:prstGeom>
          <a:solidFill>
            <a:srgbClr val="E05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C5DA3C-9EBB-5B5B-CC2D-58F1CFB12BBB}"/>
              </a:ext>
            </a:extLst>
          </p:cNvPr>
          <p:cNvSpPr txBox="1"/>
          <p:nvPr/>
        </p:nvSpPr>
        <p:spPr>
          <a:xfrm>
            <a:off x="2952749" y="2779132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mo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615E72A-AF87-57B2-D90A-AF13671EEF9E}"/>
              </a:ext>
            </a:extLst>
          </p:cNvPr>
          <p:cNvSpPr/>
          <p:nvPr/>
        </p:nvSpPr>
        <p:spPr>
          <a:xfrm>
            <a:off x="2286000" y="3354054"/>
            <a:ext cx="533400" cy="42862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9BAC1AB-EB28-1CB4-BF7F-CD04671B2342}"/>
              </a:ext>
            </a:extLst>
          </p:cNvPr>
          <p:cNvSpPr txBox="1"/>
          <p:nvPr/>
        </p:nvSpPr>
        <p:spPr>
          <a:xfrm>
            <a:off x="2952749" y="3419018"/>
            <a:ext cx="49815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duct Roadmap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B640B9C-CF5D-CC53-E126-FAB84A48F81D}"/>
              </a:ext>
            </a:extLst>
          </p:cNvPr>
          <p:cNvSpPr/>
          <p:nvPr/>
        </p:nvSpPr>
        <p:spPr>
          <a:xfrm>
            <a:off x="8972550" y="0"/>
            <a:ext cx="171450" cy="5143500"/>
          </a:xfrm>
          <a:prstGeom prst="rect">
            <a:avLst/>
          </a:prstGeom>
          <a:solidFill>
            <a:srgbClr val="1A75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18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240"/>
    </mc:Choice>
    <mc:Fallback xmlns="">
      <p:transition spd="slow" advTm="1624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1-11-21 11:35:14"/>
  <p:tag name="KM-CONTENT-SLIDE" val="2021-11-21 11:33:4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1-11-21 11:35:14"/>
  <p:tag name="KM-CONTENT-SLIDE" val="2021-11-21 11:33:4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nagement Consulting Toolkit by Slidesgo">
  <a:themeElements>
    <a:clrScheme name="Simple Light">
      <a:dk1>
        <a:srgbClr val="000000"/>
      </a:dk1>
      <a:lt1>
        <a:srgbClr val="FFFFFF"/>
      </a:lt1>
      <a:dk2>
        <a:srgbClr val="4A8CFF"/>
      </a:dk2>
      <a:lt2>
        <a:srgbClr val="EFEFEF"/>
      </a:lt2>
      <a:accent1>
        <a:srgbClr val="003BA3"/>
      </a:accent1>
      <a:accent2>
        <a:srgbClr val="000000"/>
      </a:accent2>
      <a:accent3>
        <a:srgbClr val="4A8CFF"/>
      </a:accent3>
      <a:accent4>
        <a:srgbClr val="EFEFEF"/>
      </a:accent4>
      <a:accent5>
        <a:srgbClr val="003BA3"/>
      </a:accent5>
      <a:accent6>
        <a:srgbClr val="000000"/>
      </a:accent6>
      <a:hlink>
        <a:srgbClr val="003BA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D07B0C630B9D4D9861F24EF816FC32" ma:contentTypeVersion="3" ma:contentTypeDescription="Create a new document." ma:contentTypeScope="" ma:versionID="765850004f4b368e6d0a00b6dca81dd4">
  <xsd:schema xmlns:xsd="http://www.w3.org/2001/XMLSchema" xmlns:xs="http://www.w3.org/2001/XMLSchema" xmlns:p="http://schemas.microsoft.com/office/2006/metadata/properties" xmlns:ns2="934c25d4-b23b-481f-8e61-c6a701c75079" targetNamespace="http://schemas.microsoft.com/office/2006/metadata/properties" ma:root="true" ma:fieldsID="69700b266f46ec6119f33be6669ac48c" ns2:_="">
    <xsd:import namespace="934c25d4-b23b-481f-8e61-c6a701c7507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4c25d4-b23b-481f-8e61-c6a701c750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AD6443A-0223-4C0C-A5B5-ED6DF81BA49B}">
  <ds:schemaRefs>
    <ds:schemaRef ds:uri="934c25d4-b23b-481f-8e61-c6a701c750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614A7CD-0A5B-4A4C-B498-381146B6468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97F9D0-0695-4A16-B88C-BBBC3B33B3EC}">
  <ds:schemaRefs>
    <ds:schemaRef ds:uri="http://purl.org/dc/terms/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dcmitype/"/>
    <ds:schemaRef ds:uri="934c25d4-b23b-481f-8e61-c6a701c75079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47</TotalTime>
  <Words>662</Words>
  <Application>Microsoft Office PowerPoint</Application>
  <PresentationFormat>On-screen Show (16:9)</PresentationFormat>
  <Paragraphs>123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Montserrat</vt:lpstr>
      <vt:lpstr>Management Consulting Toolkit by Slidesgo</vt:lpstr>
      <vt:lpstr>think-cell Slide</vt:lpstr>
      <vt:lpstr>Women’s World Banking:  Improving the Digital Experience</vt:lpstr>
      <vt:lpstr>PowerPoint Presentation</vt:lpstr>
      <vt:lpstr>Problem Overview</vt:lpstr>
      <vt:lpstr>PowerPoint Presentation</vt:lpstr>
      <vt:lpstr>Solution Overview</vt:lpstr>
      <vt:lpstr>On Their Tech Stack</vt:lpstr>
      <vt:lpstr>In Multiple Formats</vt:lpstr>
      <vt:lpstr>With Easy-to-Use Tools</vt:lpstr>
      <vt:lpstr>PowerPoint Presentation</vt:lpstr>
      <vt:lpstr>Videoconferencing Tool Demo</vt:lpstr>
      <vt:lpstr>PowerPoint Presentation</vt:lpstr>
      <vt:lpstr>Communications Project Roadma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nagement  Consulting Toolkit</dc:title>
  <dc:creator>Cassidy Gasteiger</dc:creator>
  <cp:lastModifiedBy>Gasteiger, Cassidy M</cp:lastModifiedBy>
  <cp:revision>35</cp:revision>
  <dcterms:modified xsi:type="dcterms:W3CDTF">2023-10-27T13:52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D07B0C630B9D4D9861F24EF816FC32</vt:lpwstr>
  </property>
</Properties>
</file>